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fntdata" ContentType="application/x-fontdata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Masters/notesMaster1.xml" ContentType="application/vnd.openxmlformats-officedocument.presentationml.notesMaster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.xml" ContentType="application/vnd.openxmlformats-officedocument.themeOverrid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charts/chart2.xml" ContentType="application/vnd.openxmlformats-officedocument.drawingml.char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 autoCompressPictures="0">
  <p:sldMasterIdLst>
    <p:sldMasterId id="2147483648" r:id="rId1"/>
  </p:sldMasterIdLst>
  <p:notesMasterIdLst>
    <p:notesMasterId r:id="rId18"/>
  </p:notesMasterIdLst>
  <p:sldIdLst>
    <p:sldId id="256" r:id="rId2"/>
    <p:sldId id="418" r:id="rId3"/>
    <p:sldId id="259" r:id="rId4"/>
    <p:sldId id="260" r:id="rId5"/>
    <p:sldId id="261" r:id="rId6"/>
    <p:sldId id="263" r:id="rId7"/>
    <p:sldId id="265" r:id="rId8"/>
    <p:sldId id="266" r:id="rId9"/>
    <p:sldId id="267" r:id="rId10"/>
    <p:sldId id="268" r:id="rId11"/>
    <p:sldId id="269" r:id="rId12"/>
    <p:sldId id="417" r:id="rId13"/>
    <p:sldId id="270" r:id="rId14"/>
    <p:sldId id="414" r:id="rId15"/>
    <p:sldId id="275" r:id="rId16"/>
    <p:sldId id="273" r:id="rId17"/>
  </p:sldIdLst>
  <p:sldSz cx="12192000" cy="6858000"/>
  <p:notesSz cx="7010400" cy="9296400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Quattrocento Sans" panose="020B0502050000020003" pitchFamily="34" charset="0"/>
      <p:regular r:id="rId23"/>
      <p:bold r:id="rId24"/>
      <p:italic r:id="rId25"/>
      <p:boldItalic r:id="rId26"/>
    </p:embeddedFont>
    <p:embeddedFont>
      <p:font typeface="Segoe UI" panose="020B0502040204020203" pitchFamily="34" charset="0"/>
      <p:regular r:id="rId27"/>
      <p:bold r:id="rId28"/>
      <p:italic r:id="rId29"/>
      <p:boldItalic r:id="rId30"/>
    </p:embeddedFont>
    <p:embeddedFont>
      <p:font typeface="Segoe UI Symbol" panose="020B0502040204020203" pitchFamily="34" charset="0"/>
      <p:regular r:id="rId31"/>
    </p:embeddedFont>
    <p:embeddedFont>
      <p:font typeface="Verdana" panose="020B0604030504040204" pitchFamily="3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6" roundtripDataSignature="AMtx7miHcnPk2k+vi+ay+kQqxAZACiG9p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account" initials="Ma" lastIdx="1" clrIdx="0">
    <p:extLst>
      <p:ext uri="{19B8F6BF-5375-455C-9EA6-DF929625EA0E}">
        <p15:presenceInfo xmlns:p15="http://schemas.microsoft.com/office/powerpoint/2012/main" userId="da43974768972128" providerId="Windows Live"/>
      </p:ext>
    </p:extLst>
  </p:cmAuthor>
  <p:cmAuthor id="2" name="Kamal Mirzayev" initials="KM" lastIdx="1" clrIdx="1">
    <p:extLst>
      <p:ext uri="{19B8F6BF-5375-455C-9EA6-DF929625EA0E}">
        <p15:presenceInfo xmlns:p15="http://schemas.microsoft.com/office/powerpoint/2012/main" userId="S-1-5-21-2980886158-1851789976-2059587640-32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C0504D"/>
    <a:srgbClr val="FFFFFF"/>
    <a:srgbClr val="9B8650"/>
    <a:srgbClr val="7F7F7F"/>
    <a:srgbClr val="C1AC7D"/>
    <a:srgbClr val="CFBF9B"/>
    <a:srgbClr val="5D4E2D"/>
    <a:srgbClr val="A98E51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59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88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21" Type="http://schemas.openxmlformats.org/officeDocument/2006/relationships/font" Target="fonts/font3.fntdata"/><Relationship Id="rId34" Type="http://schemas.openxmlformats.org/officeDocument/2006/relationships/font" Target="fonts/font16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font" Target="fonts/font14.fntdata"/><Relationship Id="rId53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font" Target="fonts/font10.fntdata"/><Relationship Id="rId36" Type="http://schemas.openxmlformats.org/officeDocument/2006/relationships/tags" Target="tags/tag1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font" Target="fonts/font13.fntdata"/><Relationship Id="rId52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font" Target="fonts/font12.fntdata"/><Relationship Id="rId35" Type="http://schemas.openxmlformats.org/officeDocument/2006/relationships/font" Target="fonts/font17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7.fntdata"/><Relationship Id="rId33" Type="http://schemas.openxmlformats.org/officeDocument/2006/relationships/font" Target="fonts/font15.fntdata"/><Relationship Id="rId46" Type="http://customschemas.google.com/relationships/presentationmetadata" Target="meta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hanzada.iskandarov\Downloads\Makroiqtisadi%20hesabat%20(May-2022).xlsm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ustr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8.1336786231621144E-4"/>
                  <c:y val="-1.9637205472617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2.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0.0%</c:formatCode>
                <c:ptCount val="1"/>
                <c:pt idx="0">
                  <c:v>0.42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DA-4C07-AA81-641834E3F66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nstruc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2920203510805263E-3"/>
                  <c:y val="-5.727550577889917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defRPr>
                    </a:pPr>
                    <a:r>
                      <a:rPr lang="en-US" dirty="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5.9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581592525993105E-2"/>
                      <c:h val="6.0908523951385955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0.0%</c:formatCode>
                <c:ptCount val="1"/>
                <c:pt idx="0">
                  <c:v>5.8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ADA-4C07-AA81-641834E3F6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rad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4326259981512033E-5"/>
                  <c:y val="-4.909333683197534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latin typeface="Calibri" panose="020F0502020204030204" pitchFamily="34" charset="0"/>
                        <a:cs typeface="Calibri" panose="020F0502020204030204" pitchFamily="34" charset="0"/>
                      </a:rPr>
                      <a:t>10.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0.0%</c:formatCode>
                <c:ptCount val="1"/>
                <c:pt idx="0">
                  <c:v>0.10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ADA-4C07-AA81-641834E3F6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ax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5.2911121025357791E-3"/>
                  <c:y val="-1.636433789384774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.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4CA-4F8C-925A-2426D16458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0.0%</c:formatCode>
                <c:ptCount val="1"/>
                <c:pt idx="0">
                  <c:v>8.4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ADA-4C07-AA81-641834E3F6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gricultur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055419494658515E-3"/>
                  <c:y val="-5.6631270784916199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0.0%</c:formatCode>
                <c:ptCount val="1"/>
                <c:pt idx="0">
                  <c:v>5.8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ADA-4C07-AA81-641834E3F6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Transpor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9938070626096885E-3"/>
                  <c:y val="-2.94044272901832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.9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0.0%</c:formatCode>
                <c:ptCount val="1"/>
                <c:pt idx="0">
                  <c:v>6.900000000000000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ADA-4C07-AA81-641834E3F664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Tourism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753882445954257E-3"/>
                  <c:y val="-1.215724241517470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0.0%</c:formatCode>
                <c:ptCount val="1"/>
                <c:pt idx="0">
                  <c:v>1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ADA-4C07-AA81-641834E3F6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Telecom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4352239009523166E-3"/>
                  <c:y val="-2.618313764702244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.8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AADA-4C07-AA81-641834E3F6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I$2</c:f>
              <c:numCache>
                <c:formatCode>0.0%</c:formatCode>
                <c:ptCount val="1"/>
                <c:pt idx="0">
                  <c:v>1.78903707850515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ADA-4C07-AA81-641834E3F664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363466422607368E-3"/>
                  <c:y val="-1.631295697510521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7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4CA-4F8C-925A-2426D16458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J$2</c:f>
              <c:numCache>
                <c:formatCode>0.0%</c:formatCode>
                <c:ptCount val="1"/>
                <c:pt idx="0">
                  <c:v>0.17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ADA-4C07-AA81-641834E3F6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319723008"/>
        <c:axId val="-319720288"/>
      </c:barChart>
      <c:catAx>
        <c:axId val="-3197230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319720288"/>
        <c:crosses val="autoZero"/>
        <c:auto val="1"/>
        <c:lblAlgn val="ctr"/>
        <c:lblOffset val="100"/>
        <c:noMultiLvlLbl val="0"/>
      </c:catAx>
      <c:valAx>
        <c:axId val="-319720288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crossAx val="-319723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6195787481218863E-2"/>
          <c:y val="0.7911737276113302"/>
          <c:w val="0.96380421251878112"/>
          <c:h val="0.19736735805778835"/>
        </c:manualLayout>
      </c:layout>
      <c:overlay val="0"/>
      <c:spPr>
        <a:noFill/>
        <a:ln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akroiqtisadi hesabat (May-2022).xlsm]Pivots for dashboard!PivotTable2</c:name>
    <c:fmtId val="15"/>
  </c:pivotSource>
  <c:chart>
    <c:autoTitleDeleted val="0"/>
    <c:pivotFmts>
      <c:pivotFmt>
        <c:idx val="0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7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8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5D7DF1D-CE3D-45EE-B2A5-703540885A8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1FE71A37-58EF-48FF-A2B9-25053D014B7D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1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96C6E08-5BCA-4016-AE5F-BC6CA23424E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2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C0F881C-CDE8-4810-BF38-84BC32790EED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3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06431CB-457C-493D-BEC6-C56BC847DF9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4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DC790BD0-41C9-440C-9464-B588927B1B0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5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A418808-9F64-4060-B160-513DD5F44D8C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6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24896F3-F3CC-434B-89A9-0ACAA574DBF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7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F42D998-F8C8-4CE1-ADC9-3DBE5F60298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8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6B06D53-3C0F-4579-B5C7-D0D6E26DAA4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9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A3F2785B-1C2E-4FDA-8DEC-3DB59EBD1D6D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0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1B60DAF-7225-4CF0-957C-CDBCF6F104A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1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77AABD6C-38B3-4D34-B7FF-F25D7F4478C4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2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751A17EF-17DE-4D7D-A569-B2CE4AD72CE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3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18775B55-B21B-4267-B397-487C389DFA19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4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13C9EA7-2B35-4AA5-B390-C4234A525AB3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5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3884ED41-50CC-46CB-8193-E2DCE6D3F452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6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D8C5F09-DC28-42C7-8503-9FF3883CC7E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7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C4264DD8-8FF5-448D-86E6-88BE8BCE3076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8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3A69FA73-D0E5-4E34-BB5A-834F6BCFA5D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29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36D079D-9A29-4D78-BF60-75ECF258584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0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75155C1-4A80-4C75-A1F1-04EDBAA064E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1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64CAC47-D1AE-4D2A-A266-F50240476264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2"/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02D279C-73C7-485C-9EE6-4CCDAFF7D5AC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3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5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36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37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85360DD2-8DBC-4599-A0C9-FAAAAFC2F1BA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8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07148BC-4F28-48BC-88D7-209C102597A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39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6D8B9012-A742-45D6-A8BE-5EACDCED6EC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0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8BF1BAFF-984C-4897-BACB-2D0C78533FB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1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D1F285C0-A917-44C2-B36D-0AF5B462E832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2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4E7EB73-EAFF-4FAD-BC8D-6A2940276A5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3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D3CDFC2-076F-41B5-961E-C4606C98E80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4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3BC89969-4936-4749-9287-348181A72B4A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5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3680893D-945B-48D0-AE45-E4D751A5ACC6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6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5EFB911-7E88-4149-AE1C-C71F8A2D714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7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7020691-6E49-446B-B09C-9FE2C654D00B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48"/>
      </c:pivotFmt>
      <c:pivotFmt>
        <c:idx val="49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D92AB8BE-50A1-48AD-9015-DE89EA7F9BFB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0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6E841B4-11D6-4B10-9DB4-39F62CCF504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1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89FEE60C-3EA2-4D3E-B266-FCDC416844E9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2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C58973EA-99A1-450A-9E2B-3E9EB89D246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3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A920581E-789C-4263-B9D0-E1B1639070F3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4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8538D55F-FE8C-4BB9-9304-D6AC0222991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5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85C0108-ED09-4CEE-A861-5F4BB7ED8524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6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B4CC97D-7F71-4C91-83B1-E90FC7F6650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7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84E71CF-9556-41F1-9499-2183AFADBEE4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8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6B26B049-7C7F-4410-A43F-8C4932A9723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59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DBF8AAB-B7CF-4978-BC90-4D2B6680E09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0"/>
      </c:pivotFmt>
      <c:pivotFmt>
        <c:idx val="61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62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63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64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C3FDE42-C80B-4BB2-B6CE-944224AC9D5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5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8B13328-9B48-409D-8089-5DB7A0D82AF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6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A749BA9-AD2E-4A06-8050-FFDFF584CF7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7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1F95D231-4F61-49A8-90FE-965F19718B9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8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8E7B3072-16E5-4B44-95B8-65C8E188A04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69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C436402-0A3D-4D14-8CC1-DB6B1D2B34ED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0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27EDDE9-7D63-4533-9634-8EEDD889710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1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6A6180A4-F12A-46BA-8A07-4A99A1D511D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2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017938C-083B-4357-BBC2-2D7782FEBDD3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3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688D47A-AE49-46E9-8430-BE2F1C190BC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4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00188C5-9F9F-4A40-B460-B8890952DC5D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5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7F4AFF2-C3AC-46B2-BC42-61D525ED591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6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77E573C-69BB-4B83-8753-6B543983D076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7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351D944-8AEC-4BE3-9516-83320C36830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8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87A52DF-49AD-4F1C-9D4E-B41F28254E9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79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466A2C8-6FA7-49F8-A5FC-930A1802735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0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18115A9-2AC0-40B0-B11B-8041F4988DC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1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7C50209-A688-4714-8397-B990A59C887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2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AF9418C-AD5A-42EE-B7C0-BF1160AA992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3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591D7AE-380F-4DB4-A7C2-E666169178A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4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19DF681D-E79A-44A3-A4D8-112E9F65CC6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5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8F2D7B2-C1F9-437B-8E06-2E8CE2C6A1AA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86"/>
        <c:spPr>
          <a:solidFill>
            <a:srgbClr val="02A69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87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showDataLabelsRange val="1"/>
            </c:ext>
          </c:extLst>
        </c:dLbl>
      </c:pivotFmt>
      <c:pivotFmt>
        <c:idx val="88"/>
        <c:spPr>
          <a:solidFill>
            <a:schemeClr val="accent1"/>
          </a:solidFill>
          <a:ln w="28575" cap="rnd">
            <a:noFill/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t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89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934F790-E003-4B65-B1CC-DE4AC9E8249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0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94CE348-01CF-4F43-9973-FCF6B210F8C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1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0E869C6-0726-4AE1-9189-1D5A9618F1C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2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DC78206-EE50-48D0-ACA5-CD0A9ECE4D4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3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A79C17FD-DEF7-4F14-ABDF-74C7C80039B2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4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BC3DA59-B5FE-4EE5-A84F-358E651496AB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5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7BB2A810-9527-4E15-9C75-42E872296CE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6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61D72E3-E179-4624-93BD-A3B587702EFE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7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7C9F425-49C3-476F-83BA-F66803720661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8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731C26D-0CDD-42FE-85C5-36F905C6FDD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99"/>
        <c:spPr>
          <a:solidFill>
            <a:srgbClr val="02A696"/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E1FF46B-DD1D-4AB6-A43D-92493F916B96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0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4C21925A-73C4-40AE-BF38-22E112FF5BD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1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2C8FB2A1-DB0A-4401-8760-21A8064C053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2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930318F4-2139-4945-9914-4E823D227C35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3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0D2CA74F-0F84-4FAD-BB9C-83BDB3FFA868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4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C51CB63C-94CF-4A29-9304-7E5960CF1290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5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406DCE5-E855-4D3F-BF47-D47B525D609F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6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818EC49-B0B8-4DB6-86B6-E29A57C5A604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7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B94420B4-275F-4FCA-84DA-4FFCC0EE3927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8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FFF1E56E-CDF5-4AC8-8F19-5080354A8666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09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55B68B79-62BE-424A-BB9F-D29799F5981B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  <c:pivotFmt>
        <c:idx val="110"/>
        <c:spPr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c:spPr>
        <c:dLbl>
          <c:idx val="0"/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fld id="{E118FCD1-FA3A-4AB0-AF29-FEDA0271365C}" type="CELLRANGE">
                  <a:rPr lang="en-US"/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t>[CELLRANGE]</a:t>
                </a:fld>
                <a:endParaRPr lang="en-US"/>
              </a:p>
            </c:rich>
          </c:tx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>
              <c15:dlblFieldTable/>
              <c15:xForSave val="1"/>
              <c15:showDataLabelsRange val="1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4.4267820017121476E-3"/>
          <c:y val="0.28819510061242343"/>
          <c:w val="0.97914549995766664"/>
          <c:h val="0.5829256342957130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Pivots for dashboard'!$F$19:$F$30</c:f>
              <c:strCache>
                <c:ptCount val="1"/>
                <c:pt idx="0">
                  <c:v>Neft ÜDM, mlrd ABŞ dolları</c:v>
                </c:pt>
              </c:strCache>
            </c:strRef>
          </c:tx>
          <c:spPr>
            <a:solidFill>
              <a:srgbClr val="C0504D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ED388E5A-373B-48CA-BAE8-E3B43EDFE4F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648F-4AD3-9F57-D658E5ADB23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41A55CB-9EEA-4E9D-A725-E8E05F42C5C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648F-4AD3-9F57-D658E5ADB23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D9C720F-E006-49CB-A277-300576BFD6D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648F-4AD3-9F57-D658E5ADB23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FA2F9C68-1932-4C15-ACE4-74519771A82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648F-4AD3-9F57-D658E5ADB23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5F21879-027D-45A3-9D7B-13BD075D20F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648F-4AD3-9F57-D658E5ADB23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F3C9BB8-443D-4F63-9954-BEF9ACC948B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648F-4AD3-9F57-D658E5ADB23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284EC93-8AD2-4ABC-AB84-69EA6DE76D9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48F-4AD3-9F57-D658E5ADB23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FAFB4C1-3B7A-4D64-9CDB-2A9E98E1E9D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648F-4AD3-9F57-D658E5ADB23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F44AEC07-59F3-4F02-9F28-FA0EC5489F5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648F-4AD3-9F57-D658E5ADB23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50330CD9-FF6F-49C9-93BB-06064CC667AD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648F-4AD3-9F57-D658E5ADB23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AB3AC2EF-F82F-40FA-BA7F-03CF1EEC659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648F-4AD3-9F57-D658E5ADB2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Pivots for dashboard'!$F$19:$F$30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Pivots for dashboard'!$F$19:$F$30</c:f>
              <c:numCache>
                <c:formatCode>#,##0.00</c:formatCode>
                <c:ptCount val="11"/>
                <c:pt idx="0">
                  <c:v>32.803312209986245</c:v>
                </c:pt>
                <c:pt idx="1">
                  <c:v>32.48305968448966</c:v>
                </c:pt>
                <c:pt idx="2">
                  <c:v>31.955148027378442</c:v>
                </c:pt>
                <c:pt idx="3">
                  <c:v>29.335089479619143</c:v>
                </c:pt>
                <c:pt idx="4">
                  <c:v>16.257119247407928</c:v>
                </c:pt>
                <c:pt idx="5">
                  <c:v>12.898605653553396</c:v>
                </c:pt>
                <c:pt idx="6">
                  <c:v>15.148699884786041</c:v>
                </c:pt>
                <c:pt idx="7">
                  <c:v>19.485666667193748</c:v>
                </c:pt>
                <c:pt idx="8">
                  <c:v>18.405411764705871</c:v>
                </c:pt>
                <c:pt idx="9">
                  <c:v>12.729235294117643</c:v>
                </c:pt>
                <c:pt idx="10">
                  <c:v>20.63029411764705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ivots for dashboard'!$F$19:$F$30</c15:f>
                <c15:dlblRangeCache>
                  <c:ptCount val="12"/>
                  <c:pt idx="0">
                    <c:v>52</c:v>
                  </c:pt>
                  <c:pt idx="1">
                    <c:v>47</c:v>
                  </c:pt>
                  <c:pt idx="2">
                    <c:v>43</c:v>
                  </c:pt>
                  <c:pt idx="3">
                    <c:v>39</c:v>
                  </c:pt>
                  <c:pt idx="4">
                    <c:v>31</c:v>
                  </c:pt>
                  <c:pt idx="5">
                    <c:v>34</c:v>
                  </c:pt>
                  <c:pt idx="6">
                    <c:v>37</c:v>
                  </c:pt>
                  <c:pt idx="7">
                    <c:v>42</c:v>
                  </c:pt>
                  <c:pt idx="8">
                    <c:v>38</c:v>
                  </c:pt>
                  <c:pt idx="9">
                    <c:v>30</c:v>
                  </c:pt>
                  <c:pt idx="10">
                    <c:v>3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648F-4AD3-9F57-D658E5ADB238}"/>
            </c:ext>
          </c:extLst>
        </c:ser>
        <c:ser>
          <c:idx val="1"/>
          <c:order val="1"/>
          <c:tx>
            <c:strRef>
              <c:f>'Pivots for dashboard'!$F$19:$F$30</c:f>
              <c:strCache>
                <c:ptCount val="1"/>
                <c:pt idx="0">
                  <c:v>Qeyri-neft ÜDM, mlrd ABŞ dolları</c:v>
                </c:pt>
              </c:strCache>
            </c:strRef>
          </c:tx>
          <c:spPr>
            <a:solidFill>
              <a:srgbClr val="4F81BD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241E5EE-7727-4D81-9B3E-38EA0514FFE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648F-4AD3-9F57-D658E5ADB23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F9A7D53-CDDD-42AA-B699-16FD611B0F2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648F-4AD3-9F57-D658E5ADB23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5C3B147-4545-4F18-8A56-F2A629B7E11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648F-4AD3-9F57-D658E5ADB23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AE2D9C2-B0DE-4471-BF93-FE5639A1BF9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48F-4AD3-9F57-D658E5ADB23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4FB4878-40B4-47AA-9657-8CB5CCB2B71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48F-4AD3-9F57-D658E5ADB23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D05F82E9-EB6F-4759-B3E5-F6DE7B2690B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648F-4AD3-9F57-D658E5ADB238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6DA546DD-D867-496C-A2D6-F19383AAC40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648F-4AD3-9F57-D658E5ADB238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AF44AD7E-FAE6-4D45-A552-D2AAEB5DBD4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648F-4AD3-9F57-D658E5ADB238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18A42243-1A63-437E-8EB9-9C3DA6A9C27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648F-4AD3-9F57-D658E5ADB23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346DDD8A-531C-4014-929B-A2D841A503C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648F-4AD3-9F57-D658E5ADB238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94C4BE62-8CD4-4656-AF51-B50CEA5132F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648F-4AD3-9F57-D658E5ADB2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'Pivots for dashboard'!$F$19:$F$30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Pivots for dashboard'!$F$19:$F$30</c:f>
              <c:numCache>
                <c:formatCode>#,##0.00</c:formatCode>
                <c:ptCount val="11"/>
                <c:pt idx="0">
                  <c:v>30.600409914981476</c:v>
                </c:pt>
                <c:pt idx="1">
                  <c:v>36.244053754094793</c:v>
                </c:pt>
                <c:pt idx="2">
                  <c:v>41.60097509015749</c:v>
                </c:pt>
                <c:pt idx="3">
                  <c:v>45.857400494438266</c:v>
                </c:pt>
                <c:pt idx="4">
                  <c:v>36.710347141538321</c:v>
                </c:pt>
                <c:pt idx="5">
                  <c:v>24.690547711761681</c:v>
                </c:pt>
                <c:pt idx="6">
                  <c:v>25.600252345452574</c:v>
                </c:pt>
                <c:pt idx="7">
                  <c:v>27.453402002191623</c:v>
                </c:pt>
                <c:pt idx="8">
                  <c:v>29.642235294117643</c:v>
                </c:pt>
                <c:pt idx="9">
                  <c:v>29.877941176470578</c:v>
                </c:pt>
                <c:pt idx="10">
                  <c:v>33.99188235294116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Pivots for dashboard'!$G$19:$G$31</c15:f>
                <c15:dlblRangeCache>
                  <c:ptCount val="13"/>
                  <c:pt idx="0">
                    <c:v>48</c:v>
                  </c:pt>
                  <c:pt idx="1">
                    <c:v>53</c:v>
                  </c:pt>
                  <c:pt idx="2">
                    <c:v>57</c:v>
                  </c:pt>
                  <c:pt idx="3">
                    <c:v>61</c:v>
                  </c:pt>
                  <c:pt idx="4">
                    <c:v>69</c:v>
                  </c:pt>
                  <c:pt idx="5">
                    <c:v>66</c:v>
                  </c:pt>
                  <c:pt idx="6">
                    <c:v>63</c:v>
                  </c:pt>
                  <c:pt idx="7">
                    <c:v>58</c:v>
                  </c:pt>
                  <c:pt idx="8">
                    <c:v>62</c:v>
                  </c:pt>
                  <c:pt idx="9">
                    <c:v>70</c:v>
                  </c:pt>
                  <c:pt idx="10">
                    <c:v>62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7-648F-4AD3-9F57-D658E5ADB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1734727808"/>
        <c:axId val="1734717640"/>
      </c:barChart>
      <c:lineChart>
        <c:grouping val="percentStacked"/>
        <c:varyColors val="0"/>
        <c:ser>
          <c:idx val="2"/>
          <c:order val="2"/>
          <c:tx>
            <c:strRef>
              <c:f>'Pivots for dashboard'!$F$19:$F$30</c:f>
              <c:strCache>
                <c:ptCount val="1"/>
                <c:pt idx="0">
                  <c:v>ÜDM, mlrd ABŞ dolları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ivots for dashboard'!$F$19:$F$30</c:f>
              <c:strCach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strCache>
            </c:strRef>
          </c:cat>
          <c:val>
            <c:numRef>
              <c:f>'Pivots for dashboard'!$F$19:$F$30</c:f>
              <c:numCache>
                <c:formatCode>#,##0.00</c:formatCode>
                <c:ptCount val="11"/>
                <c:pt idx="0">
                  <c:v>63.403722124967722</c:v>
                </c:pt>
                <c:pt idx="1">
                  <c:v>68.727113438584453</c:v>
                </c:pt>
                <c:pt idx="2">
                  <c:v>73.556123117535932</c:v>
                </c:pt>
                <c:pt idx="3">
                  <c:v>75.192489974057409</c:v>
                </c:pt>
                <c:pt idx="4">
                  <c:v>52.967466388946249</c:v>
                </c:pt>
                <c:pt idx="5">
                  <c:v>37.589153365315077</c:v>
                </c:pt>
                <c:pt idx="6">
                  <c:v>40.748952230238615</c:v>
                </c:pt>
                <c:pt idx="7">
                  <c:v>46.939068669385371</c:v>
                </c:pt>
                <c:pt idx="8">
                  <c:v>48.047647058823514</c:v>
                </c:pt>
                <c:pt idx="9">
                  <c:v>42.607176470588222</c:v>
                </c:pt>
                <c:pt idx="10">
                  <c:v>54.6221764705882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8-648F-4AD3-9F57-D658E5ADB2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4727808"/>
        <c:axId val="1734717640"/>
      </c:lineChart>
      <c:catAx>
        <c:axId val="1734727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717640"/>
        <c:crosses val="autoZero"/>
        <c:auto val="1"/>
        <c:lblAlgn val="ctr"/>
        <c:lblOffset val="100"/>
        <c:noMultiLvlLbl val="0"/>
      </c:catAx>
      <c:valAx>
        <c:axId val="17347176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734727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984045461746415"/>
          <c:y val="0.21877555436058813"/>
          <c:w val="0.79160286384472689"/>
          <c:h val="0.767754546621229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5 IMPORT MARKETS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.0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374-4AA2-93A2-C63166BDF86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5.4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F374-4AA2-93A2-C63166BDF86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4.0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374-4AA2-93A2-C63166BDF86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5.7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374-4AA2-93A2-C63166BDF86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17.7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374-4AA2-93A2-C63166BDF86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0C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UKRAINE</c:v>
                </c:pt>
                <c:pt idx="1">
                  <c:v>GERMANY</c:v>
                </c:pt>
                <c:pt idx="2">
                  <c:v>CHINA</c:v>
                </c:pt>
                <c:pt idx="3">
                  <c:v>TURKEY</c:v>
                </c:pt>
                <c:pt idx="4">
                  <c:v>RUSSI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0199999999999996</c:v>
                </c:pt>
                <c:pt idx="1">
                  <c:v>5.42</c:v>
                </c:pt>
                <c:pt idx="2">
                  <c:v>14.01</c:v>
                </c:pt>
                <c:pt idx="3">
                  <c:v>15.75</c:v>
                </c:pt>
                <c:pt idx="4">
                  <c:v>17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68-4409-BEAD-DC977282056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319723552"/>
        <c:axId val="-319724640"/>
      </c:barChart>
      <c:catAx>
        <c:axId val="-319723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-319724640"/>
        <c:crosses val="autoZero"/>
        <c:auto val="0"/>
        <c:lblAlgn val="ctr"/>
        <c:lblOffset val="100"/>
        <c:noMultiLvlLbl val="0"/>
      </c:catAx>
      <c:valAx>
        <c:axId val="-3197246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3197235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2652602960941531"/>
          <c:y val="2.6939798036364485E-2"/>
          <c:w val="0.51279766558838114"/>
          <c:h val="0.137956160251494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rgbClr val="0070C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21810832949406"/>
          <c:y val="0.13925158774973515"/>
          <c:w val="0.75656310459226916"/>
          <c:h val="0.7585143890131509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5 EXPORT MARKETS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.1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36C-4BB4-A735-A83840F267E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2.6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36C-4BB4-A735-A83840F267E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41.6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36C-4BB4-A735-A83840F267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ROATIA</c:v>
                </c:pt>
                <c:pt idx="1">
                  <c:v> ISRAEL</c:v>
                </c:pt>
                <c:pt idx="2">
                  <c:v>RUSSIA</c:v>
                </c:pt>
                <c:pt idx="3">
                  <c:v>TURKEY</c:v>
                </c:pt>
                <c:pt idx="4">
                  <c:v> ITAL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.38</c:v>
                </c:pt>
                <c:pt idx="1">
                  <c:v>4.04</c:v>
                </c:pt>
                <c:pt idx="2">
                  <c:v>6</c:v>
                </c:pt>
                <c:pt idx="3">
                  <c:v>12.69</c:v>
                </c:pt>
                <c:pt idx="4">
                  <c:v>41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C6-4149-AA32-DAD545DECC7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319733888"/>
        <c:axId val="-319724096"/>
      </c:barChart>
      <c:catAx>
        <c:axId val="-31973388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-319724096"/>
        <c:crosses val="autoZero"/>
        <c:auto val="1"/>
        <c:lblAlgn val="ctr"/>
        <c:lblOffset val="100"/>
        <c:noMultiLvlLbl val="0"/>
      </c:catAx>
      <c:valAx>
        <c:axId val="-3197240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31973388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20040191698432991"/>
          <c:y val="6.401203499796386E-2"/>
          <c:w val="0.48811069652762906"/>
          <c:h val="0.189843589441738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rgbClr val="C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218842976338432"/>
          <c:y val="0.29134454359844925"/>
          <c:w val="0.69240699659800808"/>
          <c:h val="0.645177286066460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5 NON-OIL EXPORT PRODUCTS (%)</c:v>
                </c:pt>
              </c:strCache>
            </c:strRef>
          </c:tx>
          <c:spPr>
            <a:solidFill>
              <a:srgbClr val="C1504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1695316793268799E-2"/>
                  <c:y val="5.6027796845856646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954-49F1-8686-D4051A792267}"/>
                </c:ext>
              </c:extLst>
            </c:dLbl>
            <c:dLbl>
              <c:idx val="1"/>
              <c:layout>
                <c:manualLayout>
                  <c:x val="-3.1728766957119466E-2"/>
                  <c:y val="0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954-49F1-8686-D4051A792267}"/>
                </c:ext>
              </c:extLst>
            </c:dLbl>
            <c:dLbl>
              <c:idx val="2"/>
              <c:layout>
                <c:manualLayout>
                  <c:x val="-3.87312463126709E-2"/>
                  <c:y val="-1.120555936917112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954-49F1-8686-D4051A792267}"/>
                </c:ext>
              </c:extLst>
            </c:dLbl>
            <c:dLbl>
              <c:idx val="3"/>
              <c:layout>
                <c:manualLayout>
                  <c:x val="-3.3091953030088606E-2"/>
                  <c:y val="-5.6027796845855623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954-49F1-8686-D4051A792267}"/>
                </c:ext>
              </c:extLst>
            </c:dLbl>
            <c:dLbl>
              <c:idx val="4"/>
              <c:layout>
                <c:manualLayout>
                  <c:x val="-1.0062617971560009E-2"/>
                  <c:y val="5.6027796845855102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954-49F1-8686-D4051A7922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C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UMİNİUM</c:v>
                </c:pt>
                <c:pt idx="1">
                  <c:v>COTTON FIBER</c:v>
                </c:pt>
                <c:pt idx="2">
                  <c:v>CHEMİCAL PRODUCTS</c:v>
                </c:pt>
                <c:pt idx="3">
                  <c:v>PLASTICS </c:v>
                </c:pt>
                <c:pt idx="4">
                  <c:v>FRUITS &amp; VEGETABLE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6.95</c:v>
                </c:pt>
                <c:pt idx="1">
                  <c:v>7.77</c:v>
                </c:pt>
                <c:pt idx="2">
                  <c:v>9.0500000000000007</c:v>
                </c:pt>
                <c:pt idx="3">
                  <c:v>16.3</c:v>
                </c:pt>
                <c:pt idx="4">
                  <c:v>23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54-49F1-8686-D4051A79226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319729536"/>
        <c:axId val="-319727904"/>
      </c:barChart>
      <c:catAx>
        <c:axId val="-319729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-319727904"/>
        <c:crosses val="autoZero"/>
        <c:auto val="1"/>
        <c:lblAlgn val="ctr"/>
        <c:lblOffset val="100"/>
        <c:noMultiLvlLbl val="0"/>
      </c:catAx>
      <c:valAx>
        <c:axId val="-319727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3197295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116790695708269"/>
          <c:y val="0.16386145340516656"/>
          <c:w val="0.61925075308816691"/>
          <c:h val="0.114765221473028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rgbClr val="C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494560023712062"/>
          <c:y val="0.15487355783049178"/>
          <c:w val="0.56874981643058231"/>
          <c:h val="0.693496915869116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5 IMPORT PRODUCTS 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1953434416218229E-2"/>
                  <c:y val="-5.5223465885595241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F6-4B09-8DF5-540ECE9C56A9}"/>
                </c:ext>
              </c:extLst>
            </c:dLbl>
            <c:dLbl>
              <c:idx val="1"/>
              <c:layout>
                <c:manualLayout>
                  <c:x val="-3.7984883560488757E-2"/>
                  <c:y val="-5.5223465885595241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9F6-4B09-8DF5-540ECE9C56A9}"/>
                </c:ext>
              </c:extLst>
            </c:dLbl>
            <c:dLbl>
              <c:idx val="2"/>
              <c:layout>
                <c:manualLayout>
                  <c:x val="-3.7946044838282712E-2"/>
                  <c:y val="0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9F6-4B09-8DF5-540ECE9C56A9}"/>
                </c:ext>
              </c:extLst>
            </c:dLbl>
            <c:dLbl>
              <c:idx val="3"/>
              <c:layout>
                <c:manualLayout>
                  <c:x val="-3.3530899780765636E-2"/>
                  <c:y val="-5.5223465885595241E-3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F6-4B09-8DF5-540ECE9C56A9}"/>
                </c:ext>
              </c:extLst>
            </c:dLbl>
            <c:dLbl>
              <c:idx val="4"/>
              <c:layout>
                <c:manualLayout>
                  <c:x val="-6.6767106222132553E-4"/>
                  <c:y val="-1.1044693177119048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9F6-4B09-8DF5-540ECE9C56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0070C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HARMACEUTICAL 
PRODUCTS</c:v>
                </c:pt>
                <c:pt idx="1">
                  <c:v>FERROUS METAL</c:v>
                </c:pt>
                <c:pt idx="2">
                  <c:v>TRANSPORT</c:v>
                </c:pt>
                <c:pt idx="3">
                  <c:v>FOODSTUFF</c:v>
                </c:pt>
                <c:pt idx="4">
                  <c:v>EQUIPMEN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5199999999999996</c:v>
                </c:pt>
                <c:pt idx="1">
                  <c:v>7.41</c:v>
                </c:pt>
                <c:pt idx="2">
                  <c:v>11.47</c:v>
                </c:pt>
                <c:pt idx="3">
                  <c:v>16.489999999999998</c:v>
                </c:pt>
                <c:pt idx="4">
                  <c:v>23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F6-4B09-8DF5-540ECE9C56A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319728992"/>
        <c:axId val="-319727360"/>
      </c:barChart>
      <c:catAx>
        <c:axId val="-3197289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en-US"/>
          </a:p>
        </c:txPr>
        <c:crossAx val="-319727360"/>
        <c:crosses val="autoZero"/>
        <c:auto val="1"/>
        <c:lblAlgn val="ctr"/>
        <c:lblOffset val="100"/>
        <c:noMultiLvlLbl val="0"/>
      </c:catAx>
      <c:valAx>
        <c:axId val="-319727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319728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8709982062642773"/>
          <c:y val="3.2385736344041315E-2"/>
          <c:w val="0.41918732554886656"/>
          <c:h val="0.113117660333941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rgbClr val="0070C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56971196155666"/>
          <c:y val="1.6550271776313304E-2"/>
          <c:w val="0.65661218661794074"/>
          <c:h val="0.8987467404435212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931-4772-96D8-3921824029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931-4772-96D8-39218240293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931-4772-96D8-39218240293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931-4772-96D8-392182402937}"/>
              </c:ext>
            </c:extLst>
          </c:dPt>
          <c:dLbls>
            <c:dLbl>
              <c:idx val="0"/>
              <c:layout>
                <c:manualLayout>
                  <c:x val="-0.11708938046697964"/>
                  <c:y val="-0.1024881444017728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2.9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F931-4772-96D8-392182402937}"/>
                </c:ext>
              </c:extLst>
            </c:dLbl>
            <c:dLbl>
              <c:idx val="1"/>
              <c:layout>
                <c:manualLayout>
                  <c:x val="0.13493027234784555"/>
                  <c:y val="-5.624381808254030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8.7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F931-4772-96D8-39218240293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6.4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F931-4772-96D8-392182402937}"/>
                </c:ext>
              </c:extLst>
            </c:dLbl>
            <c:dLbl>
              <c:idx val="3"/>
              <c:layout>
                <c:manualLayout>
                  <c:x val="8.6153149785175256E-2"/>
                  <c:y val="0.11405248390909599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2.0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F931-4772-96D8-3921824029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Fixed income and money market instruments</c:v>
                </c:pt>
                <c:pt idx="1">
                  <c:v>Equities</c:v>
                </c:pt>
                <c:pt idx="2">
                  <c:v>Real estate</c:v>
                </c:pt>
                <c:pt idx="3">
                  <c:v>Gold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625</c:v>
                </c:pt>
                <c:pt idx="1">
                  <c:v>0.17899999999999999</c:v>
                </c:pt>
                <c:pt idx="2">
                  <c:v>6.5000000000000002E-2</c:v>
                </c:pt>
                <c:pt idx="3">
                  <c:v>0.13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931-4772-96D8-39218240293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6639387766518448E-3"/>
          <c:y val="2.6065765827989241E-2"/>
          <c:w val="0.37409352687799402"/>
          <c:h val="0.639618744290482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Export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900" b="0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7AE44F5-2995-4F76-9AD7-386381D241A4}" type="VALUE">
                      <a:rPr lang="en-US" b="1" smtClean="0"/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>
                          <a:solidFill>
                            <a:srgbClr val="FFFFFF"/>
                          </a:solidFill>
                        </a:defRPr>
                      </a:pPr>
                      <a:t>[VALUE]</a:t>
                    </a:fld>
                    <a:endParaRPr lang="en-US" b="1" dirty="0"/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>
                        <a:solidFill>
                          <a:srgbClr val="FFFFFF"/>
                        </a:solidFill>
                      </a:defRPr>
                    </a:pPr>
                    <a:r>
                      <a:rPr lang="en-US" sz="900" b="1" i="0" u="none" strike="noStrike" kern="1200" baseline="0" dirty="0" err="1">
                        <a:solidFill>
                          <a:srgbClr val="FFFFFF"/>
                        </a:solidFill>
                      </a:rPr>
                      <a:t>mln</a:t>
                    </a:r>
                    <a:r>
                      <a:rPr lang="en-US" sz="900" b="1" i="0" u="none" strike="noStrike" kern="1200" baseline="0" dirty="0">
                        <a:solidFill>
                          <a:srgbClr val="FFFFFF"/>
                        </a:solidFill>
                      </a:rPr>
                      <a:t> </a:t>
                    </a:r>
                    <a:r>
                      <a:rPr lang="en-US" sz="9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rPr>
                      <a:t>₼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900" b="0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89E-4130-906B-4C205C2D761E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9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C153CD1-EDE8-4D49-8BA9-3FF85A45061F}" type="VALUE">
                      <a:rPr lang="en-US" b="1" smtClean="0"/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b="1">
                          <a:solidFill>
                            <a:srgbClr val="FFFFFF"/>
                          </a:solidFill>
                        </a:defRPr>
                      </a:pPr>
                      <a:t>[VALUE]</a:t>
                    </a:fld>
                    <a:endParaRPr lang="en-US" b="1" dirty="0"/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b="1">
                        <a:solidFill>
                          <a:srgbClr val="FFFFFF"/>
                        </a:solidFill>
                      </a:defRPr>
                    </a:pPr>
                    <a:r>
                      <a:rPr lang="en-US" sz="900" b="1" i="0" u="none" strike="noStrike" kern="1200" baseline="0" dirty="0" err="1">
                        <a:solidFill>
                          <a:srgbClr val="FFFFFF"/>
                        </a:solidFill>
                      </a:rPr>
                      <a:t>mln</a:t>
                    </a:r>
                    <a:r>
                      <a:rPr lang="en-US" sz="900" b="1" i="0" u="none" strike="noStrike" kern="1200" baseline="0" dirty="0">
                        <a:solidFill>
                          <a:srgbClr val="FFFFFF"/>
                        </a:solidFill>
                      </a:rPr>
                      <a:t> </a:t>
                    </a:r>
                    <a:r>
                      <a:rPr lang="en-US" sz="9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rPr>
                      <a:t>₼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9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89E-4130-906B-4C205C2D76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C$7:$D$7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8:$D$8</c:f>
              <c:numCache>
                <c:formatCode>General</c:formatCode>
                <c:ptCount val="2"/>
                <c:pt idx="0">
                  <c:v>269.8</c:v>
                </c:pt>
                <c:pt idx="1">
                  <c:v>54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9E-4130-906B-4C205C2D76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5493328"/>
        <c:axId val="575492016"/>
      </c:barChart>
      <c:catAx>
        <c:axId val="57549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492016"/>
        <c:crosses val="autoZero"/>
        <c:auto val="1"/>
        <c:lblAlgn val="ctr"/>
        <c:lblOffset val="100"/>
        <c:noMultiLvlLbl val="0"/>
      </c:catAx>
      <c:valAx>
        <c:axId val="575492016"/>
        <c:scaling>
          <c:orientation val="minMax"/>
        </c:scaling>
        <c:delete val="1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75493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9</c:f>
              <c:strCache>
                <c:ptCount val="1"/>
                <c:pt idx="0">
                  <c:v>Non-export</c:v>
                </c:pt>
              </c:strCache>
            </c:strRef>
          </c:tx>
          <c:spPr>
            <a:solidFill>
              <a:srgbClr val="9B86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/>
                      <a:t>854.3 </a:t>
                    </a:r>
                  </a:p>
                  <a:p>
                    <a:pPr>
                      <a:defRPr b="1">
                        <a:solidFill>
                          <a:schemeClr val="bg1"/>
                        </a:solidFill>
                      </a:defRPr>
                    </a:pPr>
                    <a:r>
                      <a:rPr lang="en-US" b="1" dirty="0" err="1"/>
                      <a:t>mln</a:t>
                    </a:r>
                    <a:r>
                      <a:rPr lang="en-US" b="1" dirty="0"/>
                      <a:t> </a:t>
                    </a:r>
                    <a:r>
                      <a:rPr lang="en-US" sz="9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rPr>
                      <a:t>₼</a:t>
                    </a:r>
                    <a:endParaRPr lang="en-US" b="1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BC66-444C-B5B0-89B7F481D170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/>
                      <a:t>1,3 </a:t>
                    </a:r>
                  </a:p>
                  <a:p>
                    <a:pPr>
                      <a:defRPr sz="1000" b="1">
                        <a:solidFill>
                          <a:schemeClr val="bg1"/>
                        </a:solidFill>
                      </a:defRPr>
                    </a:pPr>
                    <a:r>
                      <a:rPr lang="en-US" sz="1000" b="1" dirty="0" err="1"/>
                      <a:t>bln</a:t>
                    </a:r>
                    <a:r>
                      <a:rPr lang="en-US" sz="1000" b="1" dirty="0"/>
                      <a:t> </a:t>
                    </a:r>
                    <a:r>
                      <a:rPr lang="en-US" sz="1000" b="1" i="0" u="none" strike="noStrike" kern="120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rPr>
                      <a:t>₼</a:t>
                    </a:r>
                    <a:endParaRPr lang="en-US" sz="1000" b="1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BC66-444C-B5B0-89B7F481D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C$7:$D$7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Sheet1!$C$9:$D$9</c:f>
              <c:numCache>
                <c:formatCode>General</c:formatCode>
                <c:ptCount val="2"/>
                <c:pt idx="0">
                  <c:v>854.3</c:v>
                </c:pt>
                <c:pt idx="1">
                  <c:v>1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C66-444C-B5B0-89B7F481D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5493328"/>
        <c:axId val="575492016"/>
      </c:barChart>
      <c:catAx>
        <c:axId val="57549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5492016"/>
        <c:crosses val="autoZero"/>
        <c:auto val="1"/>
        <c:lblAlgn val="ctr"/>
        <c:lblOffset val="100"/>
        <c:noMultiLvlLbl val="0"/>
      </c:catAx>
      <c:valAx>
        <c:axId val="575492016"/>
        <c:scaling>
          <c:orientation val="minMax"/>
        </c:scaling>
        <c:delete val="1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575493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970938" y="0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L="457200" marR="0" lvl="0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36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0922227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p1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9" name="Google Shape;29;p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21541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2" name="Google Shape;292;p12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3" name="Google Shape;293;p12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73632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p13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22" name="Google Shape;322;p13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1877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7F1BCB-C60A-0E48-8DB5-23D6D1074293}" type="slidenum">
              <a:rPr lang="en-US" altLang="ru-RU" smtClean="0"/>
              <a:pPr>
                <a:defRPr/>
              </a:pPr>
              <a:t>11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42652630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Google Shape;348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9" name="Google Shape;349;p17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50" name="Google Shape;350;p17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30055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0" name="Google Shape;380;p18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8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63162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0" name="Google Shape;380;p18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1" name="Google Shape;381;p18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43398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" name="Google Shape;405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" name="Google Shape;406;p20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7" name="Google Shape;407;p2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84493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" name="Google Shape;37;p2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8" name="Google Shape;38;p2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1322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4" name="Google Shape;84;p4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5" name="Google Shape;85;p4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25432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5" name="Google Shape;105;p5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106;p5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317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p6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6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47065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9" name="Google Shape;169;p8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0" name="Google Shape;170;p8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7827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3" name="Google Shape;213;p9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4" name="Google Shape;214;p9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06681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6" name="Google Shape;246;p10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7" name="Google Shape;247;p10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9901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4" name="Google Shape;264;p11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5" name="Google Shape;265;p11:notes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724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1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612" y="1016"/>
            <a:ext cx="12188387" cy="685596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22"/>
          <p:cNvSpPr txBox="1">
            <a:spLocks noGrp="1"/>
          </p:cNvSpPr>
          <p:nvPr>
            <p:ph type="title"/>
          </p:nvPr>
        </p:nvSpPr>
        <p:spPr>
          <a:xfrm>
            <a:off x="780142" y="4417256"/>
            <a:ext cx="5741540" cy="798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1" i="0" u="none" strike="noStrike" cap="none">
                <a:solidFill>
                  <a:srgbClr val="887735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22"/>
          <p:cNvSpPr txBox="1">
            <a:spLocks noGrp="1"/>
          </p:cNvSpPr>
          <p:nvPr>
            <p:ph type="body" idx="1"/>
          </p:nvPr>
        </p:nvSpPr>
        <p:spPr>
          <a:xfrm>
            <a:off x="781051" y="5381495"/>
            <a:ext cx="5740400" cy="600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480"/>
              </a:spcBef>
              <a:spcAft>
                <a:spcPts val="0"/>
              </a:spcAft>
              <a:buClr>
                <a:srgbClr val="93895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938953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61950" algn="l" rtl="0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–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F5579A-D885-65F8-A60D-5B84392B550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79241" y="682956"/>
            <a:ext cx="2190238" cy="154411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23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7146476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rgbClr val="887735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" name="Google Shape;18;p23"/>
          <p:cNvSpPr txBox="1">
            <a:spLocks noGrp="1"/>
          </p:cNvSpPr>
          <p:nvPr>
            <p:ph type="body" idx="1"/>
          </p:nvPr>
        </p:nvSpPr>
        <p:spPr>
          <a:xfrm>
            <a:off x="278563" y="1521800"/>
            <a:ext cx="11518679" cy="4324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444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2444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–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»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23850" algn="l" rtl="0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" name="Google Shape;19;p23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EFB90E0-23B1-9141-D324-632F605760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7545" y="161146"/>
            <a:ext cx="1037617" cy="73152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st slide">
  <p:cSld name="Last slid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612" y="1016"/>
            <a:ext cx="12188387" cy="685596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24"/>
          <p:cNvSpPr txBox="1">
            <a:spLocks noGrp="1"/>
          </p:cNvSpPr>
          <p:nvPr>
            <p:ph type="title"/>
          </p:nvPr>
        </p:nvSpPr>
        <p:spPr>
          <a:xfrm>
            <a:off x="802640" y="3037681"/>
            <a:ext cx="10586720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2325" b="1" i="0" u="none" strike="noStrike" cap="none">
                <a:solidFill>
                  <a:srgbClr val="887735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R="0"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24"/>
          <p:cNvSpPr txBox="1"/>
          <p:nvPr/>
        </p:nvSpPr>
        <p:spPr>
          <a:xfrm>
            <a:off x="656167" y="4387850"/>
            <a:ext cx="3922184" cy="14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AZ1000, Azərbaycan, Bakı, </a:t>
            </a:r>
            <a:endParaRPr/>
          </a:p>
          <a:p>
            <a:pPr marL="0" marR="0" lvl="0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Üzeyir Hacıbəyli küçəsi, 84 (Hökumət Evi)</a:t>
            </a:r>
            <a:endParaRPr/>
          </a:p>
          <a:p>
            <a:pPr marL="0" marR="0" lvl="0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Tel.:	(+994 12) 493 88 67</a:t>
            </a:r>
            <a:endParaRPr/>
          </a:p>
          <a:p>
            <a:pPr marL="0" marR="0" lvl="0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Faks: (+994 12) 492 58 95</a:t>
            </a:r>
            <a:endParaRPr/>
          </a:p>
          <a:p>
            <a:pPr marL="0" marR="0" lvl="0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E-poçt: office@economy.gov.az</a:t>
            </a:r>
            <a:endParaRPr sz="12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  <a:p>
            <a:pPr marL="0" marR="0" lvl="0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US" sz="1200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www.economy.gov.az</a:t>
            </a:r>
            <a:endParaRPr sz="1200">
              <a:solidFill>
                <a:schemeClr val="dk1"/>
              </a:solidFill>
              <a:latin typeface="Quattrocento Sans"/>
              <a:ea typeface="Quattrocento Sans"/>
              <a:cs typeface="Quattrocento Sans"/>
              <a:sym typeface="Quattrocento Sans"/>
            </a:endParaRPr>
          </a:p>
        </p:txBody>
      </p:sp>
      <p:pic>
        <p:nvPicPr>
          <p:cNvPr id="25" name="Google Shape;25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0184" y="5905503"/>
            <a:ext cx="2076834" cy="5683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8563" y="267272"/>
            <a:ext cx="7146476" cy="633053"/>
          </a:xfrm>
          <a:prstGeom prst="rect">
            <a:avLst/>
          </a:prstGeom>
        </p:spPr>
        <p:txBody>
          <a:bodyPr anchor="ctr"/>
          <a:lstStyle>
            <a:lvl1pPr algn="l">
              <a:defRPr sz="1800" b="0">
                <a:solidFill>
                  <a:srgbClr val="887735"/>
                </a:solidFill>
                <a:latin typeface="Segoe UI" charset="0"/>
                <a:ea typeface="Segoe UI" charset="0"/>
                <a:cs typeface="Segoe UI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sz="quarter" idx="11"/>
          </p:nvPr>
        </p:nvSpPr>
        <p:spPr>
          <a:xfrm>
            <a:off x="278563" y="1521800"/>
            <a:ext cx="11518679" cy="4324054"/>
          </a:xfrm>
          <a:prstGeom prst="rect">
            <a:avLst/>
          </a:prstGeom>
        </p:spPr>
        <p:txBody>
          <a:bodyPr/>
          <a:lstStyle>
            <a:lvl1pPr marL="0" marR="0" indent="0" algn="l" defTabSz="3429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 sz="1500" b="0" baseline="0">
                <a:solidFill>
                  <a:srgbClr val="002444"/>
                </a:solidFill>
                <a:latin typeface="Segoe UI Symbol" charset="0"/>
                <a:ea typeface="Segoe UI Symbol" charset="0"/>
                <a:cs typeface="Segoe UI Symbol" charset="0"/>
              </a:defRPr>
            </a:lvl1pPr>
            <a:lvl2pPr>
              <a:defRPr sz="1500">
                <a:latin typeface="Verdana" panose="020B0604030504040204" pitchFamily="34" charset="0"/>
                <a:ea typeface="Verdana" panose="020B0604030504040204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chemeClr val="bg1"/>
                </a:solidFill>
                <a:latin typeface="Averta" charset="0"/>
                <a:ea typeface="Averta" charset="0"/>
                <a:cs typeface="Averta" charset="0"/>
              </a:defRPr>
            </a:lvl1pPr>
          </a:lstStyle>
          <a:p>
            <a:pPr>
              <a:defRPr/>
            </a:pPr>
            <a:fld id="{E3B6FE20-F526-A443-8A48-A8874A55E24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5A390E-90FA-0A3F-FFF8-B673C3C8DAC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7545" y="161146"/>
            <a:ext cx="1037617" cy="731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018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762F645-3875-CFA2-11B4-0429CF563A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0532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chart" Target="../charts/chart1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2F89AF-27FC-9DA7-AEBF-F731C58D37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435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0" imgH="381" progId="TCLayout.ActiveDocument.1">
                  <p:embed/>
                </p:oleObj>
              </mc:Choice>
              <mc:Fallback>
                <p:oleObj name="think-cell Slide" r:id="rId4" imgW="400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Google Shape;33;p1"/>
          <p:cNvSpPr txBox="1">
            <a:spLocks noGrp="1"/>
          </p:cNvSpPr>
          <p:nvPr>
            <p:ph type="title"/>
          </p:nvPr>
        </p:nvSpPr>
        <p:spPr>
          <a:xfrm>
            <a:off x="367649" y="4354120"/>
            <a:ext cx="7733935" cy="1123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kumimoji="1" lang="en-US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INVESTMENT OPPORTUNITIES IN AZERBAIJAN</a:t>
            </a:r>
            <a:br>
              <a:rPr kumimoji="1" lang="az-Latn-AZ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</a:br>
            <a:br>
              <a:rPr kumimoji="1" lang="az-Latn-AZ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</a:br>
            <a:r>
              <a:rPr kumimoji="1" lang="en-US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March</a:t>
            </a:r>
            <a:r>
              <a:rPr kumimoji="1" lang="az-Latn-AZ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202</a:t>
            </a:r>
            <a:r>
              <a:rPr kumimoji="1" lang="en-US" kern="12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3</a:t>
            </a:r>
            <a:endParaRPr dirty="0">
              <a:solidFill>
                <a:srgbClr val="60606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1"/>
          <p:cNvSpPr txBox="1"/>
          <p:nvPr/>
        </p:nvSpPr>
        <p:spPr>
          <a:xfrm>
            <a:off x="5074920" y="2240086"/>
            <a:ext cx="6566366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606060"/>
              </a:buClr>
              <a:buSzPts val="2000"/>
              <a:buFont typeface="Arial"/>
              <a:buNone/>
            </a:pPr>
            <a:r>
              <a:rPr kumimoji="1" lang="en-US" sz="2000" b="1" kern="1200" dirty="0">
                <a:solidFill>
                  <a:srgbClr val="88773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PORT AND INVESTMENT PROMOTION AGENCY OF THE REPUBLIC OF AZERBAIJAN - AZPROMO</a:t>
            </a:r>
            <a:endParaRPr kumimoji="1" sz="2000" b="1" kern="1200" dirty="0">
              <a:solidFill>
                <a:srgbClr val="887735"/>
              </a:solidFill>
              <a:latin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12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297" name="Google Shape;297;p12"/>
          <p:cNvSpPr txBox="1">
            <a:spLocks noGrp="1"/>
          </p:cNvSpPr>
          <p:nvPr>
            <p:ph type="title"/>
          </p:nvPr>
        </p:nvSpPr>
        <p:spPr>
          <a:xfrm>
            <a:off x="278563" y="285560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BILATERAL INVESTMENT TREATIES</a:t>
            </a:r>
            <a:endParaRPr sz="2000" b="1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pic>
        <p:nvPicPr>
          <p:cNvPr id="305" name="Google Shape;305;p12"/>
          <p:cNvPicPr preferRelativeResize="0"/>
          <p:nvPr/>
        </p:nvPicPr>
        <p:blipFill rotWithShape="1">
          <a:blip r:embed="rId3">
            <a:alphaModFix/>
          </a:blip>
          <a:srcRect b="16156"/>
          <a:stretch/>
        </p:blipFill>
        <p:spPr>
          <a:xfrm>
            <a:off x="1334277" y="2632150"/>
            <a:ext cx="8680146" cy="371047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4" name="Google Shape;314;p12"/>
          <p:cNvCxnSpPr>
            <a:cxnSpLocks/>
          </p:cNvCxnSpPr>
          <p:nvPr/>
        </p:nvCxnSpPr>
        <p:spPr>
          <a:xfrm>
            <a:off x="365760" y="5340398"/>
            <a:ext cx="11388523" cy="0"/>
          </a:xfrm>
          <a:prstGeom prst="straightConnector1">
            <a:avLst/>
          </a:prstGeom>
          <a:noFill/>
          <a:ln w="38100" cap="flat" cmpd="sng">
            <a:solidFill>
              <a:srgbClr val="4E81BD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19" name="Google Shape;336;p13">
            <a:extLst>
              <a:ext uri="{FF2B5EF4-FFF2-40B4-BE49-F238E27FC236}">
                <a16:creationId xmlns:a16="http://schemas.microsoft.com/office/drawing/2014/main" id="{848F2176-109F-4516-89C7-F6B0C9F006D7}"/>
              </a:ext>
            </a:extLst>
          </p:cNvPr>
          <p:cNvCxnSpPr>
            <a:cxnSpLocks/>
          </p:cNvCxnSpPr>
          <p:nvPr/>
        </p:nvCxnSpPr>
        <p:spPr>
          <a:xfrm flipV="1">
            <a:off x="439935" y="2613100"/>
            <a:ext cx="11409165" cy="4679"/>
          </a:xfrm>
          <a:prstGeom prst="straightConnector1">
            <a:avLst/>
          </a:prstGeom>
          <a:noFill/>
          <a:ln w="38100" cap="flat" cmpd="sng">
            <a:solidFill>
              <a:srgbClr val="887735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23" name="Google Shape;312;p12">
            <a:extLst>
              <a:ext uri="{FF2B5EF4-FFF2-40B4-BE49-F238E27FC236}">
                <a16:creationId xmlns:a16="http://schemas.microsoft.com/office/drawing/2014/main" id="{43BB9435-5CC3-4B01-AFEE-A049A66E01DE}"/>
              </a:ext>
            </a:extLst>
          </p:cNvPr>
          <p:cNvCxnSpPr>
            <a:cxnSpLocks/>
          </p:cNvCxnSpPr>
          <p:nvPr/>
        </p:nvCxnSpPr>
        <p:spPr>
          <a:xfrm>
            <a:off x="2838971" y="3822192"/>
            <a:ext cx="0" cy="1657032"/>
          </a:xfrm>
          <a:prstGeom prst="straightConnector1">
            <a:avLst/>
          </a:prstGeom>
          <a:noFill/>
          <a:ln w="50800" cap="flat" cmpd="sng">
            <a:solidFill>
              <a:srgbClr val="4E81BD"/>
            </a:solidFill>
            <a:prstDash val="dot"/>
            <a:miter lim="400000"/>
            <a:headEnd type="oval" w="med" len="med"/>
            <a:tailEnd type="none" w="sm" len="sm"/>
          </a:ln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D1E469FE-668B-46E5-B486-FAB5313A67C2}"/>
              </a:ext>
            </a:extLst>
          </p:cNvPr>
          <p:cNvSpPr txBox="1"/>
          <p:nvPr/>
        </p:nvSpPr>
        <p:spPr>
          <a:xfrm>
            <a:off x="560277" y="1403985"/>
            <a:ext cx="1345402" cy="95840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it-IT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LBANIA</a:t>
            </a:r>
          </a:p>
          <a:p>
            <a:pPr algn="ctr">
              <a:lnSpc>
                <a:spcPct val="80000"/>
              </a:lnSpc>
            </a:pPr>
            <a:r>
              <a:rPr lang="it-IT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USTRIA</a:t>
            </a:r>
            <a:endParaRPr lang="it-IT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ELARUS</a:t>
            </a:r>
            <a:endParaRPr lang="it-IT" sz="1400" dirty="0">
              <a:solidFill>
                <a:srgbClr val="232323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ELGIUM</a:t>
            </a:r>
            <a:endParaRPr lang="it-IT" sz="1400" dirty="0">
              <a:solidFill>
                <a:srgbClr val="232323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it-IT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ULGARI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16278C9-90AF-46BA-B9AB-0BA57B5C312F}"/>
              </a:ext>
            </a:extLst>
          </p:cNvPr>
          <p:cNvSpPr txBox="1"/>
          <p:nvPr/>
        </p:nvSpPr>
        <p:spPr>
          <a:xfrm>
            <a:off x="2215222" y="1403985"/>
            <a:ext cx="1409812" cy="95840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ROAT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ZECH REP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ESTONIA</a:t>
            </a: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FINLAND</a:t>
            </a: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FRAN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1B98707-9AB4-4D12-A24F-491C8FAB1B9A}"/>
              </a:ext>
            </a:extLst>
          </p:cNvPr>
          <p:cNvSpPr txBox="1"/>
          <p:nvPr/>
        </p:nvSpPr>
        <p:spPr>
          <a:xfrm>
            <a:off x="3965945" y="1416085"/>
            <a:ext cx="1345402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GEORG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GERMANY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GREECE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HUNGARY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TALY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9435C7-8F69-46D3-B0B8-D062802E048E}"/>
              </a:ext>
            </a:extLst>
          </p:cNvPr>
          <p:cNvSpPr txBox="1"/>
          <p:nvPr/>
        </p:nvSpPr>
        <p:spPr>
          <a:xfrm>
            <a:off x="5759302" y="1403985"/>
            <a:ext cx="1612981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LATVIA</a:t>
            </a: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LITHUAN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LUXEMBOURG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MACEDONIA FYR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MOLDOV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0FD380F-0571-4E08-A20A-F58B95C8611B}"/>
              </a:ext>
            </a:extLst>
          </p:cNvPr>
          <p:cNvSpPr txBox="1"/>
          <p:nvPr/>
        </p:nvSpPr>
        <p:spPr>
          <a:xfrm>
            <a:off x="7653578" y="1416085"/>
            <a:ext cx="1409812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MONTENEGRO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RWAY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OLAND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ROMAN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RUSS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8FFD2C8-28F2-45EF-BF15-C9DDCE72BFE2}"/>
              </a:ext>
            </a:extLst>
          </p:cNvPr>
          <p:cNvSpPr txBox="1"/>
          <p:nvPr/>
        </p:nvSpPr>
        <p:spPr>
          <a:xfrm>
            <a:off x="9302002" y="1416086"/>
            <a:ext cx="1524762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ERB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WITZERLAND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URKEY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K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KRAINE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CA3AC09-54C6-4302-B43F-738113ED0E0C}"/>
              </a:ext>
            </a:extLst>
          </p:cNvPr>
          <p:cNvSpPr txBox="1"/>
          <p:nvPr/>
        </p:nvSpPr>
        <p:spPr>
          <a:xfrm>
            <a:off x="234454" y="5542598"/>
            <a:ext cx="1305305" cy="78463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HIN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RA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SRAEL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JORDA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27C0E0C-3317-4930-90EE-4AD8371783D6}"/>
              </a:ext>
            </a:extLst>
          </p:cNvPr>
          <p:cNvSpPr txBox="1"/>
          <p:nvPr/>
        </p:nvSpPr>
        <p:spPr>
          <a:xfrm>
            <a:off x="1828557" y="5542598"/>
            <a:ext cx="1443470" cy="78463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it-IT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AUDI ARABIA LEBANON</a:t>
            </a:r>
            <a:endParaRPr lang="it-IT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it-IT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AKISTAN</a:t>
            </a:r>
            <a:endParaRPr lang="it-IT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it-IT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QATAR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344A532-9463-4EEF-839E-5FC4F971F5CC}"/>
              </a:ext>
            </a:extLst>
          </p:cNvPr>
          <p:cNvSpPr txBox="1"/>
          <p:nvPr/>
        </p:nvSpPr>
        <p:spPr>
          <a:xfrm>
            <a:off x="4399134" y="5542598"/>
            <a:ext cx="1360168" cy="78463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YRIA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AJIKISTA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AE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ZBEKISTA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ED8BAE-2098-4145-8B45-5510C4280DA0}"/>
              </a:ext>
            </a:extLst>
          </p:cNvPr>
          <p:cNvSpPr txBox="1"/>
          <p:nvPr/>
        </p:nvSpPr>
        <p:spPr>
          <a:xfrm>
            <a:off x="6556795" y="5541187"/>
            <a:ext cx="1443470" cy="786049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KAZAKHSTA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KUWAIT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KYRGYZSTAN</a:t>
            </a: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mbria"/>
              </a:rPr>
              <a:t>KOREA REP.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Google Shape;313;p12">
            <a:extLst>
              <a:ext uri="{FF2B5EF4-FFF2-40B4-BE49-F238E27FC236}">
                <a16:creationId xmlns:a16="http://schemas.microsoft.com/office/drawing/2014/main" id="{2DB1CACB-7FDF-D50F-46FA-C050A34538B4}"/>
              </a:ext>
            </a:extLst>
          </p:cNvPr>
          <p:cNvCxnSpPr>
            <a:cxnSpLocks/>
          </p:cNvCxnSpPr>
          <p:nvPr/>
        </p:nvCxnSpPr>
        <p:spPr>
          <a:xfrm flipV="1">
            <a:off x="6440783" y="2360978"/>
            <a:ext cx="0" cy="1339596"/>
          </a:xfrm>
          <a:prstGeom prst="straightConnector1">
            <a:avLst/>
          </a:prstGeom>
          <a:noFill/>
          <a:ln w="50800" cap="flat" cmpd="sng">
            <a:solidFill>
              <a:srgbClr val="C00000"/>
            </a:solidFill>
            <a:prstDash val="dot"/>
            <a:miter lim="400000"/>
            <a:headEnd type="oval" w="med" len="med"/>
            <a:tailEnd type="none" w="sm" len="sm"/>
          </a:ln>
        </p:spPr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13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326" name="Google Shape;326;p13"/>
          <p:cNvSpPr txBox="1">
            <a:spLocks noGrp="1"/>
          </p:cNvSpPr>
          <p:nvPr>
            <p:ph type="title"/>
          </p:nvPr>
        </p:nvSpPr>
        <p:spPr>
          <a:xfrm>
            <a:off x="278563" y="285560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DOUBLE TAXATION TREATIES</a:t>
            </a:r>
            <a:endParaRPr sz="2000" b="1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A742FEE-553B-4AE7-ACA4-C348B93F6AA3}"/>
              </a:ext>
            </a:extLst>
          </p:cNvPr>
          <p:cNvSpPr txBox="1"/>
          <p:nvPr/>
        </p:nvSpPr>
        <p:spPr>
          <a:xfrm>
            <a:off x="338041" y="1454373"/>
            <a:ext cx="1259586" cy="95840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USTRIA</a:t>
            </a:r>
          </a:p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ELARUS</a:t>
            </a:r>
            <a:endParaRPr lang="en-US" sz="1400" dirty="0">
              <a:solidFill>
                <a:srgbClr val="232323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ELGIUM</a:t>
            </a:r>
            <a:endParaRPr lang="en-US" sz="1400" dirty="0">
              <a:solidFill>
                <a:srgbClr val="232323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&amp;H</a:t>
            </a:r>
          </a:p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ULGARIAC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74D2D17-D3C8-4A47-A5ED-A19CE5F57A52}"/>
              </a:ext>
            </a:extLst>
          </p:cNvPr>
          <p:cNvSpPr txBox="1"/>
          <p:nvPr/>
        </p:nvSpPr>
        <p:spPr>
          <a:xfrm>
            <a:off x="1777361" y="1465278"/>
            <a:ext cx="1368666" cy="95840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CROATIA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ESTONIA</a:t>
            </a:r>
          </a:p>
          <a:p>
            <a:pPr algn="ctr">
              <a:lnSpc>
                <a:spcPct val="80000"/>
              </a:lnSpc>
            </a:pPr>
            <a:r>
              <a:rPr lang="en-US" sz="1400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ZECH REP</a:t>
            </a:r>
            <a:r>
              <a:rPr lang="az-Latn-AZ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.</a:t>
            </a:r>
            <a:endParaRPr lang="en-US" sz="1400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FINLAND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FRAN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B82D33F-3168-45E2-891E-D41F0CE6C4B3}"/>
              </a:ext>
            </a:extLst>
          </p:cNvPr>
          <p:cNvSpPr txBox="1"/>
          <p:nvPr/>
        </p:nvSpPr>
        <p:spPr>
          <a:xfrm>
            <a:off x="3317230" y="1455784"/>
            <a:ext cx="1410388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GEORGIA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GERMANY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GREECE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HUNGARY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ITALY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308218A-5F5A-4737-B230-353CB531F943}"/>
              </a:ext>
            </a:extLst>
          </p:cNvPr>
          <p:cNvSpPr txBox="1"/>
          <p:nvPr/>
        </p:nvSpPr>
        <p:spPr>
          <a:xfrm>
            <a:off x="4898821" y="1448366"/>
            <a:ext cx="1624825" cy="954107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LATVIA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LITHUANIA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LUXEMBOURG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MACEDONIA FYR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MOLDOVA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C4A568C-2413-4C1C-9158-296687A4ABD7}"/>
              </a:ext>
            </a:extLst>
          </p:cNvPr>
          <p:cNvSpPr txBox="1"/>
          <p:nvPr/>
        </p:nvSpPr>
        <p:spPr>
          <a:xfrm>
            <a:off x="6762797" y="1465278"/>
            <a:ext cx="1410388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MONTENEGRO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ETHERLANDS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ORWAY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POLAND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OMANIA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E841CD1-CF0E-4B16-8495-A1476C8C33C7}"/>
              </a:ext>
            </a:extLst>
          </p:cNvPr>
          <p:cNvSpPr txBox="1"/>
          <p:nvPr/>
        </p:nvSpPr>
        <p:spPr>
          <a:xfrm>
            <a:off x="8484547" y="1465278"/>
            <a:ext cx="1462376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USSIA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AN MARINO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ERBIA</a:t>
            </a:r>
            <a:endParaRPr lang="it-IT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LOVENIA</a:t>
            </a: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PAIN</a:t>
            </a:r>
            <a:endParaRPr lang="en-US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422900-0979-4968-9107-8CEDBAECCEDA}"/>
              </a:ext>
            </a:extLst>
          </p:cNvPr>
          <p:cNvSpPr txBox="1"/>
          <p:nvPr/>
        </p:nvSpPr>
        <p:spPr>
          <a:xfrm>
            <a:off x="10172662" y="1467177"/>
            <a:ext cx="1391358" cy="956993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WEDEN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WITZERLAND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URKEY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K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rgbClr val="232323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KRAINE</a:t>
            </a:r>
            <a:endParaRPr lang="en-US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7687F3E-54F6-4332-9062-6C4820AC4E27}"/>
              </a:ext>
            </a:extLst>
          </p:cNvPr>
          <p:cNvSpPr txBox="1"/>
          <p:nvPr/>
        </p:nvSpPr>
        <p:spPr>
          <a:xfrm>
            <a:off x="94740" y="5560540"/>
            <a:ext cx="1398746" cy="78463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CHINA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IR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JAP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JORD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BF603D8-57BF-4A59-B11C-815990BEA5F7}"/>
              </a:ext>
            </a:extLst>
          </p:cNvPr>
          <p:cNvSpPr txBox="1"/>
          <p:nvPr/>
        </p:nvSpPr>
        <p:spPr>
          <a:xfrm>
            <a:off x="1669879" y="5560540"/>
            <a:ext cx="1504098" cy="78463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AUDI ARABIA</a:t>
            </a: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QATAR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AJIKIST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AE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965D82F-6A2E-4AB4-8C60-5A73211AA64A}"/>
              </a:ext>
            </a:extLst>
          </p:cNvPr>
          <p:cNvSpPr txBox="1"/>
          <p:nvPr/>
        </p:nvSpPr>
        <p:spPr>
          <a:xfrm>
            <a:off x="4196458" y="5646717"/>
            <a:ext cx="1398746" cy="61228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KAZAKHST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KUWAIT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AKIST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77466E8-6472-4595-A70C-535E03C7A1DC}"/>
              </a:ext>
            </a:extLst>
          </p:cNvPr>
          <p:cNvSpPr txBox="1"/>
          <p:nvPr/>
        </p:nvSpPr>
        <p:spPr>
          <a:xfrm>
            <a:off x="6523646" y="5645307"/>
            <a:ext cx="1277874" cy="61369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ZBEKISTAN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VIETNAM</a:t>
            </a:r>
          </a:p>
          <a:p>
            <a:pPr algn="ctr">
              <a:lnSpc>
                <a:spcPct val="80000"/>
              </a:lnSpc>
            </a:pPr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mbria"/>
              </a:rPr>
              <a:t>KOREA REP.</a:t>
            </a:r>
            <a:endParaRPr lang="en-US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</p:txBody>
      </p:sp>
      <p:pic>
        <p:nvPicPr>
          <p:cNvPr id="24" name="Google Shape;305;p12">
            <a:extLst>
              <a:ext uri="{FF2B5EF4-FFF2-40B4-BE49-F238E27FC236}">
                <a16:creationId xmlns:a16="http://schemas.microsoft.com/office/drawing/2014/main" id="{F17FFB33-19CF-4F7F-8065-BB04872ACF4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16156"/>
          <a:stretch/>
        </p:blipFill>
        <p:spPr>
          <a:xfrm>
            <a:off x="1334277" y="2632150"/>
            <a:ext cx="8680146" cy="371047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oogle Shape;314;p12">
            <a:extLst>
              <a:ext uri="{FF2B5EF4-FFF2-40B4-BE49-F238E27FC236}">
                <a16:creationId xmlns:a16="http://schemas.microsoft.com/office/drawing/2014/main" id="{04D5684E-0C66-4B2D-A4CE-8FD2F37AD897}"/>
              </a:ext>
            </a:extLst>
          </p:cNvPr>
          <p:cNvCxnSpPr>
            <a:cxnSpLocks/>
          </p:cNvCxnSpPr>
          <p:nvPr/>
        </p:nvCxnSpPr>
        <p:spPr>
          <a:xfrm>
            <a:off x="278563" y="5445454"/>
            <a:ext cx="11408612" cy="0"/>
          </a:xfrm>
          <a:prstGeom prst="straightConnector1">
            <a:avLst/>
          </a:prstGeom>
          <a:noFill/>
          <a:ln w="38100" cap="flat" cmpd="sng">
            <a:solidFill>
              <a:srgbClr val="4E81BD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28" name="Google Shape;336;p13">
            <a:extLst>
              <a:ext uri="{FF2B5EF4-FFF2-40B4-BE49-F238E27FC236}">
                <a16:creationId xmlns:a16="http://schemas.microsoft.com/office/drawing/2014/main" id="{3CE9878B-A155-4E57-B99D-8EC7E8883904}"/>
              </a:ext>
            </a:extLst>
          </p:cNvPr>
          <p:cNvCxnSpPr>
            <a:cxnSpLocks/>
          </p:cNvCxnSpPr>
          <p:nvPr/>
        </p:nvCxnSpPr>
        <p:spPr>
          <a:xfrm>
            <a:off x="439935" y="2615493"/>
            <a:ext cx="11314348" cy="0"/>
          </a:xfrm>
          <a:prstGeom prst="straightConnector1">
            <a:avLst/>
          </a:prstGeom>
          <a:noFill/>
          <a:ln w="38100" cap="flat" cmpd="sng">
            <a:solidFill>
              <a:srgbClr val="887735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30" name="Google Shape;313;p12">
            <a:extLst>
              <a:ext uri="{FF2B5EF4-FFF2-40B4-BE49-F238E27FC236}">
                <a16:creationId xmlns:a16="http://schemas.microsoft.com/office/drawing/2014/main" id="{4AAB67A9-4E4B-463F-B3B9-DCE2C1600A51}"/>
              </a:ext>
            </a:extLst>
          </p:cNvPr>
          <p:cNvCxnSpPr>
            <a:cxnSpLocks/>
          </p:cNvCxnSpPr>
          <p:nvPr/>
        </p:nvCxnSpPr>
        <p:spPr>
          <a:xfrm flipV="1">
            <a:off x="2423896" y="2310808"/>
            <a:ext cx="0" cy="1986872"/>
          </a:xfrm>
          <a:prstGeom prst="straightConnector1">
            <a:avLst/>
          </a:prstGeom>
          <a:noFill/>
          <a:ln w="50800" cap="flat" cmpd="sng">
            <a:solidFill>
              <a:srgbClr val="C00000"/>
            </a:solidFill>
            <a:prstDash val="dot"/>
            <a:miter lim="400000"/>
            <a:headEnd type="oval" w="med" len="med"/>
            <a:tailEnd type="none" w="sm" len="sm"/>
          </a:ln>
        </p:spPr>
      </p:cxnSp>
      <p:cxnSp>
        <p:nvCxnSpPr>
          <p:cNvPr id="32" name="Google Shape;312;p12">
            <a:extLst>
              <a:ext uri="{FF2B5EF4-FFF2-40B4-BE49-F238E27FC236}">
                <a16:creationId xmlns:a16="http://schemas.microsoft.com/office/drawing/2014/main" id="{7ECF85B8-1A36-4579-9220-E2BB570D6977}"/>
              </a:ext>
            </a:extLst>
          </p:cNvPr>
          <p:cNvCxnSpPr>
            <a:cxnSpLocks/>
          </p:cNvCxnSpPr>
          <p:nvPr/>
        </p:nvCxnSpPr>
        <p:spPr>
          <a:xfrm>
            <a:off x="7096125" y="4178499"/>
            <a:ext cx="0" cy="1565076"/>
          </a:xfrm>
          <a:prstGeom prst="straightConnector1">
            <a:avLst/>
          </a:prstGeom>
          <a:noFill/>
          <a:ln w="50800" cap="flat" cmpd="sng">
            <a:solidFill>
              <a:srgbClr val="4E81BD"/>
            </a:solidFill>
            <a:prstDash val="dot"/>
            <a:miter lim="400000"/>
            <a:headEnd type="oval" w="med" len="med"/>
            <a:tailEnd type="none" w="sm" len="sm"/>
          </a:ln>
        </p:spPr>
      </p:cxn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>
            <a:extLst>
              <a:ext uri="{FF2B5EF4-FFF2-40B4-BE49-F238E27FC236}">
                <a16:creationId xmlns:a16="http://schemas.microsoft.com/office/drawing/2014/main" id="{A1372EC6-2322-3965-CDC4-63B4D4BEFE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71" name="Object 70" hidden="1">
                        <a:extLst>
                          <a:ext uri="{FF2B5EF4-FFF2-40B4-BE49-F238E27FC236}">
                            <a16:creationId xmlns:a16="http://schemas.microsoft.com/office/drawing/2014/main" id="{A1372EC6-2322-3965-CDC4-63B4D4BEF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563" y="276416"/>
            <a:ext cx="8181946" cy="633053"/>
          </a:xfrm>
        </p:spPr>
        <p:txBody>
          <a:bodyPr vert="horz"/>
          <a:lstStyle/>
          <a:p>
            <a:pPr>
              <a:buSzPts val="1400"/>
            </a:pPr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INDUSTRIAL PARKS, DISTRICTS AND AGROPARKS</a:t>
            </a:r>
          </a:p>
        </p:txBody>
      </p:sp>
      <p:sp>
        <p:nvSpPr>
          <p:cNvPr id="37" name="Slide Number Placehold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B6FE20-F526-A443-8A48-A8874A55E247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269056" y="1092816"/>
            <a:ext cx="6025650" cy="39035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A49F9A-2C96-C620-E15D-55263D0ED2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7026" y="1771857"/>
            <a:ext cx="360000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C81C330-6182-EBC6-308E-DD1D93EDA9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026" y="1771857"/>
            <a:ext cx="360000" cy="36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54DE3D9-571D-EE92-546F-37A2E86571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7026" y="1771857"/>
            <a:ext cx="360000" cy="36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3F2ADB0-7121-0FDF-45BB-26AD4B7465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7026" y="1771857"/>
            <a:ext cx="360000" cy="36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4D8EA59-14A6-B871-0061-0389F4AB2D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7026" y="1771857"/>
            <a:ext cx="360000" cy="36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BF94FAF-9D05-5660-A8B9-64F269F950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47026" y="1771857"/>
            <a:ext cx="360000" cy="36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6459735-E823-1D9E-83A9-06BB0543C275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2488610" y="1771857"/>
            <a:ext cx="360000" cy="36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B1126F6-3691-160E-4D59-F191D67CC6AB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2846229" y="1771857"/>
            <a:ext cx="360000" cy="360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03CA58B-F7D1-37FF-EE08-8E5BFA4EE26C}"/>
              </a:ext>
            </a:extLst>
          </p:cNvPr>
          <p:cNvSpPr txBox="1"/>
          <p:nvPr/>
        </p:nvSpPr>
        <p:spPr>
          <a:xfrm>
            <a:off x="350746" y="1366933"/>
            <a:ext cx="45260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8</a:t>
            </a: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usiness entities were granted residency statu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46B8FEE-0C4D-4C34-79E9-43BC2450E1FC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3211573" y="1771857"/>
            <a:ext cx="360000" cy="36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9E3A0D-9F69-F14B-EBD0-8308D0E59B1B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3563847" y="1771857"/>
            <a:ext cx="360000" cy="360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6BAA74C-4091-A2FE-3BAE-58DB1324137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3916120" y="1771857"/>
            <a:ext cx="360000" cy="36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D98DD10-3AF6-75F1-2319-392C15448FC1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4268394" y="1771857"/>
            <a:ext cx="360000" cy="3600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F1C7370-6264-B87A-5213-643AB2351D92}"/>
              </a:ext>
            </a:extLst>
          </p:cNvPr>
          <p:cNvSpPr txBox="1"/>
          <p:nvPr/>
        </p:nvSpPr>
        <p:spPr>
          <a:xfrm>
            <a:off x="4614136" y="1659470"/>
            <a:ext cx="22284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az-Latn-A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8 </a:t>
            </a:r>
            <a:r>
              <a:rPr lang="az-Latn-AZ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dents</a:t>
            </a:r>
            <a:r>
              <a:rPr lang="az-Latn-A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</a:t>
            </a:r>
            <a:endParaRPr lang="az-Latn-AZ" sz="16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az-Latn-AZ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ready</a:t>
            </a:r>
            <a:r>
              <a:rPr lang="az-Latn-AZ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sz="16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erating</a:t>
            </a:r>
            <a:endParaRPr lang="en-US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C450CAE9-9E0F-4003-7370-209F3079BCC4}"/>
              </a:ext>
            </a:extLst>
          </p:cNvPr>
          <p:cNvGrpSpPr/>
          <p:nvPr/>
        </p:nvGrpSpPr>
        <p:grpSpPr>
          <a:xfrm>
            <a:off x="4189910" y="3593090"/>
            <a:ext cx="1950159" cy="1108532"/>
            <a:chOff x="3056877" y="2230388"/>
            <a:chExt cx="1950159" cy="1108532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B5BE679-2B48-83A3-CFF7-B2F926DF3C20}"/>
                </a:ext>
              </a:extLst>
            </p:cNvPr>
            <p:cNvSpPr txBox="1"/>
            <p:nvPr/>
          </p:nvSpPr>
          <p:spPr>
            <a:xfrm>
              <a:off x="3056877" y="2397969"/>
              <a:ext cx="11147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800" b="1" dirty="0">
                  <a:solidFill>
                    <a:schemeClr val="bg1">
                      <a:lumMod val="50000"/>
                    </a:schemeClr>
                  </a:solidFill>
                </a:rPr>
                <a:t>450</a:t>
              </a:r>
              <a:endParaRPr lang="az-Latn-AZ" sz="12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62049E8-C02C-488A-00ED-C0247A8A0A98}"/>
                </a:ext>
              </a:extLst>
            </p:cNvPr>
            <p:cNvSpPr txBox="1"/>
            <p:nvPr/>
          </p:nvSpPr>
          <p:spPr>
            <a:xfrm>
              <a:off x="3726167" y="2412237"/>
              <a:ext cx="83474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100" b="1" dirty="0" err="1">
                  <a:solidFill>
                    <a:schemeClr val="bg1">
                      <a:lumMod val="50000"/>
                    </a:schemeClr>
                  </a:solidFill>
                </a:rPr>
                <a:t>mln</a:t>
              </a:r>
              <a:r>
                <a:rPr lang="en-GB" sz="11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US" sz="1400" b="1" i="0" dirty="0">
                  <a:solidFill>
                    <a:schemeClr val="bg1">
                      <a:lumMod val="50000"/>
                    </a:schemeClr>
                  </a:solidFill>
                  <a:effectLst/>
                  <a:latin typeface="arial" panose="020B0604020202020204" pitchFamily="34" charset="0"/>
                </a:rPr>
                <a:t>₼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8F32FFF4-C5ED-F3F7-539F-CD807883DC78}"/>
                </a:ext>
              </a:extLst>
            </p:cNvPr>
            <p:cNvSpPr txBox="1"/>
            <p:nvPr/>
          </p:nvSpPr>
          <p:spPr>
            <a:xfrm>
              <a:off x="3726168" y="2605202"/>
              <a:ext cx="1280868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az-Latn-AZ" sz="1050" dirty="0" err="1">
                  <a:solidFill>
                    <a:schemeClr val="bg1">
                      <a:lumMod val="50000"/>
                    </a:schemeClr>
                  </a:solidFill>
                </a:rPr>
                <a:t>nvestment</a:t>
              </a:r>
              <a:endParaRPr lang="en-US" sz="105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441C3C6-5AFE-5B8D-19B5-2AEF67C37269}"/>
                </a:ext>
              </a:extLst>
            </p:cNvPr>
            <p:cNvSpPr txBox="1"/>
            <p:nvPr/>
          </p:nvSpPr>
          <p:spPr>
            <a:xfrm>
              <a:off x="3056877" y="2877255"/>
              <a:ext cx="18803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b="1" dirty="0">
                  <a:solidFill>
                    <a:schemeClr val="bg1">
                      <a:lumMod val="50000"/>
                    </a:schemeClr>
                  </a:solidFill>
                </a:rPr>
                <a:t>4,500</a:t>
              </a:r>
              <a:endParaRPr lang="az-Latn-AZ" sz="11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B6057BF-79A4-A3DF-8C39-50B84EC792A4}"/>
                </a:ext>
              </a:extLst>
            </p:cNvPr>
            <p:cNvSpPr txBox="1"/>
            <p:nvPr/>
          </p:nvSpPr>
          <p:spPr>
            <a:xfrm>
              <a:off x="3886188" y="2977282"/>
              <a:ext cx="963863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>
                      <a:lumMod val="50000"/>
                    </a:schemeClr>
                  </a:solidFill>
                </a:rPr>
                <a:t>new job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DC1D2FF-3BA4-7641-913E-E8379EA36CF9}"/>
                </a:ext>
              </a:extLst>
            </p:cNvPr>
            <p:cNvSpPr txBox="1"/>
            <p:nvPr/>
          </p:nvSpPr>
          <p:spPr>
            <a:xfrm>
              <a:off x="3056877" y="2230388"/>
              <a:ext cx="9926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>
                  <a:solidFill>
                    <a:schemeClr val="bg1">
                      <a:lumMod val="50000"/>
                    </a:schemeClr>
                  </a:solidFill>
                </a:rPr>
                <a:t>planned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0BB27DE-CD4D-F48B-B681-4DCC2AB06246}"/>
              </a:ext>
            </a:extLst>
          </p:cNvPr>
          <p:cNvGrpSpPr/>
          <p:nvPr/>
        </p:nvGrpSpPr>
        <p:grpSpPr>
          <a:xfrm>
            <a:off x="4189910" y="2360280"/>
            <a:ext cx="1968433" cy="1108532"/>
            <a:chOff x="329156" y="2230388"/>
            <a:chExt cx="1968433" cy="110853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A5ED0F6-0297-7586-4611-0FDFC8F4436B}"/>
                </a:ext>
              </a:extLst>
            </p:cNvPr>
            <p:cNvSpPr txBox="1"/>
            <p:nvPr/>
          </p:nvSpPr>
          <p:spPr>
            <a:xfrm>
              <a:off x="329156" y="2397969"/>
              <a:ext cx="99268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az-Latn-AZ" sz="2800" b="1" dirty="0"/>
                <a:t>6.4</a:t>
              </a:r>
              <a:endParaRPr lang="az-Latn-AZ" sz="12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6A14E38-B542-3271-7460-101FDE6C55C6}"/>
                </a:ext>
              </a:extLst>
            </p:cNvPr>
            <p:cNvSpPr txBox="1"/>
            <p:nvPr/>
          </p:nvSpPr>
          <p:spPr>
            <a:xfrm>
              <a:off x="929866" y="2412237"/>
              <a:ext cx="613410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az-Latn-AZ" sz="1100" b="1" dirty="0" err="1"/>
                <a:t>bln</a:t>
              </a:r>
              <a:r>
                <a:rPr lang="en-GB" sz="1100" b="1" dirty="0"/>
                <a:t> </a:t>
              </a:r>
              <a:r>
                <a:rPr lang="en-US" sz="1400" b="1" i="0" dirty="0">
                  <a:solidFill>
                    <a:srgbClr val="202124"/>
                  </a:solidFill>
                  <a:effectLst/>
                  <a:latin typeface="arial" panose="020B0604020202020204" pitchFamily="34" charset="0"/>
                </a:rPr>
                <a:t>₼</a:t>
              </a:r>
              <a:endParaRPr lang="en-US" sz="1100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EEE6DD7-65BD-5F5F-98F8-0CB9527594BB}"/>
                </a:ext>
              </a:extLst>
            </p:cNvPr>
            <p:cNvSpPr txBox="1"/>
            <p:nvPr/>
          </p:nvSpPr>
          <p:spPr>
            <a:xfrm>
              <a:off x="929866" y="2605202"/>
              <a:ext cx="1192464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 err="1"/>
                <a:t>i</a:t>
              </a:r>
              <a:r>
                <a:rPr lang="az-Latn-AZ" sz="1050" dirty="0" err="1"/>
                <a:t>nvestment</a:t>
              </a:r>
              <a:endParaRPr lang="en-US" sz="1050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BC50FE2-8BF0-260D-1518-D4A2EC859A25}"/>
                </a:ext>
              </a:extLst>
            </p:cNvPr>
            <p:cNvSpPr txBox="1"/>
            <p:nvPr/>
          </p:nvSpPr>
          <p:spPr>
            <a:xfrm>
              <a:off x="329156" y="2877255"/>
              <a:ext cx="188032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400" b="1" dirty="0"/>
                <a:t>10,100</a:t>
              </a:r>
              <a:endParaRPr lang="az-Latn-AZ" sz="1100" dirty="0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8296AD9-31F3-B5C1-42AE-9EFFE6AEB2A7}"/>
                </a:ext>
              </a:extLst>
            </p:cNvPr>
            <p:cNvSpPr txBox="1"/>
            <p:nvPr/>
          </p:nvSpPr>
          <p:spPr>
            <a:xfrm>
              <a:off x="1333726" y="2977282"/>
              <a:ext cx="963863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/>
                <a:t>new job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7495172-93AC-D68B-4A8C-E84BF3EC401A}"/>
                </a:ext>
              </a:extLst>
            </p:cNvPr>
            <p:cNvSpPr txBox="1"/>
            <p:nvPr/>
          </p:nvSpPr>
          <p:spPr>
            <a:xfrm>
              <a:off x="329156" y="2230388"/>
              <a:ext cx="992686" cy="2616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50" dirty="0"/>
                <a:t>made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3E8DB201-8673-DCBA-4C0C-7541A3331BA3}"/>
              </a:ext>
            </a:extLst>
          </p:cNvPr>
          <p:cNvSpPr txBox="1"/>
          <p:nvPr/>
        </p:nvSpPr>
        <p:spPr>
          <a:xfrm>
            <a:off x="350746" y="2373737"/>
            <a:ext cx="38220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b="1" dirty="0"/>
              <a:t>PRODUCTION AND EXPORT IN INDUSTRIAL PARK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9681F09-E2F4-5516-7B72-E55CB199A4AD}"/>
              </a:ext>
            </a:extLst>
          </p:cNvPr>
          <p:cNvSpPr txBox="1"/>
          <p:nvPr/>
        </p:nvSpPr>
        <p:spPr>
          <a:xfrm>
            <a:off x="350746" y="1140810"/>
            <a:ext cx="408283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/>
              <a:t>STATISTICS OF INDUSTRIAL PARKS</a:t>
            </a:r>
            <a:r>
              <a:rPr lang="az-Latn-AZ" sz="1200" b="1" dirty="0"/>
              <a:t> (</a:t>
            </a:r>
            <a:r>
              <a:rPr lang="en-GB" sz="1200" b="1" dirty="0"/>
              <a:t>Jan-Jun</a:t>
            </a:r>
            <a:r>
              <a:rPr lang="az-Latn-AZ" sz="1200" b="1" dirty="0"/>
              <a:t> 2022)</a:t>
            </a:r>
            <a:endParaRPr lang="en-GB" sz="1200" b="1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75D22FF-B6AD-55F8-042A-2700A43B1761}"/>
              </a:ext>
            </a:extLst>
          </p:cNvPr>
          <p:cNvSpPr/>
          <p:nvPr/>
        </p:nvSpPr>
        <p:spPr>
          <a:xfrm>
            <a:off x="4146183" y="4954192"/>
            <a:ext cx="3547824" cy="160043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Sumgait Chemical Industrial Park – 2011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alakhan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Industrial Park 2011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Mingachevir Industrial Park – 2015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Garadagh Industrial Park – 2015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Pirallahi Industrial Park – 2016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Agdam Industrial Park – 2021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Araz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Valley Economic Zone – 202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9FDD584-DCDB-D706-AF1E-6AE320698E72}"/>
              </a:ext>
            </a:extLst>
          </p:cNvPr>
          <p:cNvSpPr txBox="1"/>
          <p:nvPr/>
        </p:nvSpPr>
        <p:spPr>
          <a:xfrm>
            <a:off x="7564437" y="4954192"/>
            <a:ext cx="284318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Masalli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Industria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Neftchala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Industria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Hajigabu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Industria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Sabirabad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Industria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District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Shar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ndustrial</a:t>
            </a: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 D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str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ct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19C81EB9-5EAA-8CCD-BDC5-BC5CCAF1E19F}"/>
              </a:ext>
            </a:extLst>
          </p:cNvPr>
          <p:cNvSpPr txBox="1"/>
          <p:nvPr/>
        </p:nvSpPr>
        <p:spPr>
          <a:xfrm>
            <a:off x="9976825" y="4954192"/>
            <a:ext cx="172617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az-Latn-AZ" dirty="0">
                <a:latin typeface="Calibri" panose="020F0502020204030204" pitchFamily="34" charset="0"/>
                <a:cs typeface="Calibri" panose="020F0502020204030204" pitchFamily="34" charset="0"/>
              </a:rPr>
              <a:t>51 </a:t>
            </a:r>
            <a:r>
              <a:rPr lang="az-Latn-AZ" dirty="0" err="1">
                <a:latin typeface="Calibri" panose="020F0502020204030204" pitchFamily="34" charset="0"/>
                <a:cs typeface="Calibri" panose="020F0502020204030204" pitchFamily="34" charset="0"/>
              </a:rPr>
              <a:t>Agroparks</a:t>
            </a:r>
            <a:endParaRPr lang="az-Latn-AZ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A0F22EAE-B68E-9418-6D6A-1C6B2DAF419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8377327"/>
              </p:ext>
            </p:extLst>
          </p:nvPr>
        </p:nvGraphicFramePr>
        <p:xfrm>
          <a:off x="365026" y="4746439"/>
          <a:ext cx="3204000" cy="17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ED45228B-BBED-0C6C-AAA0-A2C722A59F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1616667"/>
              </p:ext>
            </p:extLst>
          </p:nvPr>
        </p:nvGraphicFramePr>
        <p:xfrm>
          <a:off x="365026" y="2847611"/>
          <a:ext cx="3204000" cy="17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2" name="TextBox 61">
            <a:extLst>
              <a:ext uri="{FF2B5EF4-FFF2-40B4-BE49-F238E27FC236}">
                <a16:creationId xmlns:a16="http://schemas.microsoft.com/office/drawing/2014/main" id="{2A16E3E6-14C5-D1CC-6F6D-DF77DE91446C}"/>
              </a:ext>
            </a:extLst>
          </p:cNvPr>
          <p:cNvSpPr txBox="1"/>
          <p:nvPr/>
        </p:nvSpPr>
        <p:spPr>
          <a:xfrm>
            <a:off x="350746" y="2955347"/>
            <a:ext cx="38220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1" dirty="0">
                <a:solidFill>
                  <a:srgbClr val="9B8650"/>
                </a:solidFill>
              </a:rPr>
              <a:t>TOTAL PRODUC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7505BD-B24B-78EF-4701-1BD250CEA374}"/>
              </a:ext>
            </a:extLst>
          </p:cNvPr>
          <p:cNvSpPr txBox="1"/>
          <p:nvPr/>
        </p:nvSpPr>
        <p:spPr>
          <a:xfrm>
            <a:off x="350746" y="4863323"/>
            <a:ext cx="38220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b="1" dirty="0">
                <a:solidFill>
                  <a:srgbClr val="7F7F7F"/>
                </a:solidFill>
              </a:rPr>
              <a:t>EXPORT</a:t>
            </a:r>
          </a:p>
        </p:txBody>
      </p:sp>
    </p:spTree>
    <p:extLst>
      <p:ext uri="{BB962C8B-B14F-4D97-AF65-F5344CB8AC3E}">
        <p14:creationId xmlns:p14="http://schemas.microsoft.com/office/powerpoint/2010/main" val="397591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p17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  <p:sp>
        <p:nvSpPr>
          <p:cNvPr id="354" name="Google Shape;354;p17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356" name="Google Shape;356;p17"/>
          <p:cNvSpPr txBox="1"/>
          <p:nvPr/>
        </p:nvSpPr>
        <p:spPr>
          <a:xfrm>
            <a:off x="306547" y="273966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buSzPts val="1400"/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  <a:sym typeface="Quattrocento Sans"/>
              </a:defRPr>
            </a:lvl1pPr>
            <a:lvl2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 INVESTMENT INCENTIVES</a:t>
            </a:r>
            <a:endParaRPr sz="2000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360" name="Google Shape;360;p17"/>
          <p:cNvSpPr/>
          <p:nvPr/>
        </p:nvSpPr>
        <p:spPr>
          <a:xfrm>
            <a:off x="380731" y="1255173"/>
            <a:ext cx="3771500" cy="595035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HOLDERS OF INVESTMENT PROMOTION DOCUMENT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5" name="Google Shape;365;p17"/>
          <p:cNvSpPr/>
          <p:nvPr/>
        </p:nvSpPr>
        <p:spPr>
          <a:xfrm>
            <a:off x="493323" y="2170930"/>
            <a:ext cx="800673" cy="4091376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R="0" lvl="0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rgbClr val="C0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5400" cap="none" dirty="0">
                <a:solidFill>
                  <a:srgbClr val="C1504C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7</a:t>
            </a: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Y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E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4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</a:t>
            </a:r>
            <a:endParaRPr sz="54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9" name="Google Shape;369;p17"/>
          <p:cNvSpPr/>
          <p:nvPr/>
        </p:nvSpPr>
        <p:spPr>
          <a:xfrm>
            <a:off x="5639619" y="1255173"/>
            <a:ext cx="6059057" cy="595035"/>
          </a:xfrm>
          <a:prstGeom prst="rect">
            <a:avLst/>
          </a:prstGeom>
          <a:noFill/>
          <a:ln>
            <a:noFill/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ESIDENTS OF INDUSTRIAL AND TECHNOLOGY PARKS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0" name="Google Shape;370;p17"/>
          <p:cNvSpPr/>
          <p:nvPr/>
        </p:nvSpPr>
        <p:spPr>
          <a:xfrm>
            <a:off x="7288759" y="2170930"/>
            <a:ext cx="4032833" cy="2343206"/>
          </a:xfrm>
          <a:prstGeom prst="rect">
            <a:avLst/>
          </a:prstGeom>
          <a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285750" marR="0" lvl="0" indent="-28575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0% corporate tax</a:t>
            </a: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0% land and property tax</a:t>
            </a:r>
            <a:endParaRPr lang="az-Latn-AZ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>
              <a:lnSpc>
                <a:spcPct val="130000"/>
              </a:lnSpc>
            </a:pP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3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0% vat on hardware, technological equipment and structures imported by residents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3" name="Google Shape;373;p17"/>
          <p:cNvSpPr/>
          <p:nvPr/>
        </p:nvSpPr>
        <p:spPr>
          <a:xfrm>
            <a:off x="7288759" y="4877203"/>
            <a:ext cx="3162753" cy="1579920"/>
          </a:xfrm>
          <a:prstGeom prst="rect">
            <a:avLst/>
          </a:prstGeom>
          <a:blipFill rotWithShape="1">
            <a:blip r:embed="rId3">
              <a:alphaModFix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mbria"/>
              </a:rPr>
              <a:t>0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% customs duty on hardware, technological equipment and structures imported by residents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5" name="Google Shape;375;p17"/>
          <p:cNvSpPr/>
          <p:nvPr/>
        </p:nvSpPr>
        <p:spPr>
          <a:xfrm>
            <a:off x="6505915" y="2257107"/>
            <a:ext cx="540616" cy="2170851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rgbClr val="C0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10 </a:t>
            </a:r>
            <a:endParaRPr sz="2800" dirty="0">
              <a:solidFill>
                <a:srgbClr val="C00000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Y</a:t>
            </a:r>
            <a:endParaRPr sz="2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E</a:t>
            </a:r>
            <a:endParaRPr sz="2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</a:t>
            </a:r>
            <a:endParaRPr sz="2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</a:t>
            </a:r>
            <a:endParaRPr sz="2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</a:t>
            </a:r>
            <a:endParaRPr sz="28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7" name="Google Shape;377;p17"/>
          <p:cNvSpPr/>
          <p:nvPr/>
        </p:nvSpPr>
        <p:spPr>
          <a:xfrm>
            <a:off x="6812110" y="4877204"/>
            <a:ext cx="213918" cy="1579920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7 </a:t>
            </a:r>
            <a:endParaRPr sz="2000" dirty="0"/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Y</a:t>
            </a:r>
            <a:endParaRPr sz="2000" dirty="0">
              <a:solidFill>
                <a:schemeClr val="tx1"/>
              </a:solidFill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E</a:t>
            </a:r>
            <a:endParaRPr sz="2000" dirty="0">
              <a:solidFill>
                <a:schemeClr val="tx1"/>
              </a:solidFill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A</a:t>
            </a:r>
            <a:endParaRPr sz="2000" dirty="0">
              <a:solidFill>
                <a:schemeClr val="tx1"/>
              </a:solidFill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endParaRPr sz="2000" dirty="0">
              <a:solidFill>
                <a:schemeClr val="tx1"/>
              </a:solidFill>
            </a:endParaRPr>
          </a:p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endParaRPr sz="2000" dirty="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09A2EA-6897-4765-A289-4D2C1CC26E87}"/>
              </a:ext>
            </a:extLst>
          </p:cNvPr>
          <p:cNvSpPr txBox="1"/>
          <p:nvPr/>
        </p:nvSpPr>
        <p:spPr>
          <a:xfrm>
            <a:off x="1441272" y="2170930"/>
            <a:ext cx="2857047" cy="4201471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wrap="square">
            <a:spAutoFit/>
          </a:bodyPr>
          <a:lstStyle/>
          <a:p>
            <a:pPr marL="285750" marR="0" lvl="0" indent="-28575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50% reduced corporate tax</a:t>
            </a: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0% land and property tax </a:t>
            </a: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az-Latn-AZ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% vat on hardware, technological equipment and structures imported by IPD holders</a:t>
            </a:r>
            <a:endParaRPr lang="az-Latn-AZ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az-Latn-AZ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% customs duty on hardware, technological equipment and structures imported by IPD holders</a:t>
            </a:r>
          </a:p>
        </p:txBody>
      </p:sp>
      <p:cxnSp>
        <p:nvCxnSpPr>
          <p:cNvPr id="17" name="Google Shape;95;p4">
            <a:extLst>
              <a:ext uri="{FF2B5EF4-FFF2-40B4-BE49-F238E27FC236}">
                <a16:creationId xmlns:a16="http://schemas.microsoft.com/office/drawing/2014/main" id="{EAE2889F-4A16-4B04-87B7-36773B40C2C6}"/>
              </a:ext>
            </a:extLst>
          </p:cNvPr>
          <p:cNvCxnSpPr>
            <a:cxnSpLocks/>
          </p:cNvCxnSpPr>
          <p:nvPr/>
        </p:nvCxnSpPr>
        <p:spPr>
          <a:xfrm flipV="1">
            <a:off x="493324" y="1850208"/>
            <a:ext cx="3428227" cy="1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9" name="Google Shape;95;p4">
            <a:extLst>
              <a:ext uri="{FF2B5EF4-FFF2-40B4-BE49-F238E27FC236}">
                <a16:creationId xmlns:a16="http://schemas.microsoft.com/office/drawing/2014/main" id="{929E5B45-D504-4E80-892C-9931924181B9}"/>
              </a:ext>
            </a:extLst>
          </p:cNvPr>
          <p:cNvCxnSpPr>
            <a:cxnSpLocks/>
          </p:cNvCxnSpPr>
          <p:nvPr/>
        </p:nvCxnSpPr>
        <p:spPr>
          <a:xfrm flipV="1">
            <a:off x="5876948" y="1851252"/>
            <a:ext cx="5680314" cy="1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18"/>
          <p:cNvSpPr txBox="1">
            <a:spLocks noGrp="1"/>
          </p:cNvSpPr>
          <p:nvPr>
            <p:ph type="title"/>
          </p:nvPr>
        </p:nvSpPr>
        <p:spPr>
          <a:xfrm>
            <a:off x="306547" y="213849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/>
              <a:t> </a:t>
            </a:r>
            <a:endParaRPr dirty="0"/>
          </a:p>
        </p:txBody>
      </p:sp>
      <p:sp>
        <p:nvSpPr>
          <p:cNvPr id="384" name="Google Shape;384;p18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387" name="Google Shape;387;p18"/>
          <p:cNvSpPr txBox="1"/>
          <p:nvPr/>
        </p:nvSpPr>
        <p:spPr>
          <a:xfrm>
            <a:off x="306547" y="281889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SzPts val="1400"/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  <a:lvl2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2pPr>
            <a:lvl3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3pPr>
            <a:lvl4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4pPr>
            <a:lvl5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5pPr>
            <a:lvl6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6pPr>
            <a:lvl7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7pPr>
            <a:lvl8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8pPr>
            <a:lvl9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9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SECTOR OPPORTUNITIES</a:t>
            </a:r>
            <a:endParaRPr sz="2000" dirty="0">
              <a:latin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pic>
        <p:nvPicPr>
          <p:cNvPr id="388" name="Google Shape;388;p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78563" y="1216058"/>
            <a:ext cx="3502149" cy="5126570"/>
          </a:xfrm>
          <a:prstGeom prst="rect">
            <a:avLst/>
          </a:prstGeom>
          <a:noFill/>
          <a:ln>
            <a:noFill/>
          </a:ln>
        </p:spPr>
      </p:pic>
      <p:sp>
        <p:nvSpPr>
          <p:cNvPr id="392" name="Google Shape;392;p18"/>
          <p:cNvSpPr/>
          <p:nvPr/>
        </p:nvSpPr>
        <p:spPr>
          <a:xfrm>
            <a:off x="3740376" y="1413165"/>
            <a:ext cx="7345038" cy="6186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GRICULTURE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FOOD PROCESSING   </a:t>
            </a: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CHEMICAL INDUSTRY</a:t>
            </a: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ENEWABLES</a:t>
            </a: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RANSPORT AND LOGISTICS</a:t>
            </a: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NFORMATION AND COMMUNICATION 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ECHNOLOGIES</a:t>
            </a: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GHT INDUSTRY</a:t>
            </a:r>
          </a:p>
          <a:p>
            <a:pPr marR="0"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</a:pPr>
            <a:endParaRPr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OURISM</a:t>
            </a: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</a:p>
          <a:p>
            <a:pPr>
              <a:buClr>
                <a:schemeClr val="lt1"/>
              </a:buClr>
              <a:buSzPts val="4000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buClr>
                <a:schemeClr val="lt1"/>
              </a:buClr>
              <a:buSzPts val="4000"/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</a:p>
          <a:p>
            <a:pPr>
              <a:buClr>
                <a:schemeClr val="lt1"/>
              </a:buClr>
              <a:buSzPts val="4000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</p:txBody>
      </p:sp>
      <p:sp>
        <p:nvSpPr>
          <p:cNvPr id="17" name="Teardrop 6">
            <a:extLst>
              <a:ext uri="{FF2B5EF4-FFF2-40B4-BE49-F238E27FC236}">
                <a16:creationId xmlns:a16="http://schemas.microsoft.com/office/drawing/2014/main" id="{637DB1B9-FD1B-4C38-9AF8-28FB60BCE42C}"/>
              </a:ext>
            </a:extLst>
          </p:cNvPr>
          <p:cNvSpPr/>
          <p:nvPr/>
        </p:nvSpPr>
        <p:spPr>
          <a:xfrm rot="8100000">
            <a:off x="11107005" y="2202686"/>
            <a:ext cx="394280" cy="394281"/>
          </a:xfrm>
          <a:custGeom>
            <a:avLst/>
            <a:gdLst/>
            <a:ahLst/>
            <a:cxnLst/>
            <a:rect l="l" t="t" r="r" b="b"/>
            <a:pathLst>
              <a:path w="2483832" h="2483835">
                <a:moveTo>
                  <a:pt x="657616" y="1826218"/>
                </a:moveTo>
                <a:cubicBezTo>
                  <a:pt x="806520" y="1975122"/>
                  <a:pt x="1047940" y="1975122"/>
                  <a:pt x="1196844" y="1826218"/>
                </a:cubicBezTo>
                <a:cubicBezTo>
                  <a:pt x="1345748" y="1677314"/>
                  <a:pt x="1345748" y="1435894"/>
                  <a:pt x="1196844" y="1286990"/>
                </a:cubicBezTo>
                <a:cubicBezTo>
                  <a:pt x="1047940" y="1138086"/>
                  <a:pt x="806520" y="1138086"/>
                  <a:pt x="657616" y="1286990"/>
                </a:cubicBezTo>
                <a:cubicBezTo>
                  <a:pt x="508712" y="1435894"/>
                  <a:pt x="508712" y="1677314"/>
                  <a:pt x="657616" y="1826218"/>
                </a:cubicBezTo>
                <a:close/>
                <a:moveTo>
                  <a:pt x="293335" y="2190500"/>
                </a:moveTo>
                <a:cubicBezTo>
                  <a:pt x="112098" y="2009262"/>
                  <a:pt x="0" y="1758885"/>
                  <a:pt x="0" y="1482325"/>
                </a:cubicBezTo>
                <a:cubicBezTo>
                  <a:pt x="0" y="929206"/>
                  <a:pt x="459290" y="590078"/>
                  <a:pt x="1001509" y="480815"/>
                </a:cubicBezTo>
                <a:cubicBezTo>
                  <a:pt x="1569704" y="366317"/>
                  <a:pt x="1861757" y="259925"/>
                  <a:pt x="2483832" y="0"/>
                </a:cubicBezTo>
                <a:cubicBezTo>
                  <a:pt x="2230640" y="682694"/>
                  <a:pt x="2130986" y="873716"/>
                  <a:pt x="2003018" y="1482325"/>
                </a:cubicBezTo>
                <a:cubicBezTo>
                  <a:pt x="1901990" y="2042180"/>
                  <a:pt x="1554627" y="2483835"/>
                  <a:pt x="1001509" y="2483835"/>
                </a:cubicBezTo>
                <a:cubicBezTo>
                  <a:pt x="724950" y="2483835"/>
                  <a:pt x="474573" y="2371737"/>
                  <a:pt x="293335" y="2190500"/>
                </a:cubicBezTo>
                <a:close/>
              </a:path>
            </a:pathLst>
          </a:custGeom>
          <a:solidFill>
            <a:srgbClr val="8877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39BB09F-21C9-4BF3-89B5-56ED831824CE}"/>
              </a:ext>
            </a:extLst>
          </p:cNvPr>
          <p:cNvCxnSpPr>
            <a:cxnSpLocks/>
          </p:cNvCxnSpPr>
          <p:nvPr/>
        </p:nvCxnSpPr>
        <p:spPr>
          <a:xfrm>
            <a:off x="11308578" y="3558621"/>
            <a:ext cx="0" cy="2295427"/>
          </a:xfrm>
          <a:prstGeom prst="line">
            <a:avLst/>
          </a:prstGeom>
          <a:ln w="19050">
            <a:solidFill>
              <a:srgbClr val="88773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8FCBED3-188B-402C-85F7-769434E3D36A}"/>
              </a:ext>
            </a:extLst>
          </p:cNvPr>
          <p:cNvCxnSpPr>
            <a:cxnSpLocks/>
          </p:cNvCxnSpPr>
          <p:nvPr/>
        </p:nvCxnSpPr>
        <p:spPr>
          <a:xfrm>
            <a:off x="461920" y="6700850"/>
            <a:ext cx="9399929" cy="0"/>
          </a:xfrm>
          <a:prstGeom prst="line">
            <a:avLst/>
          </a:prstGeom>
          <a:ln w="19050">
            <a:solidFill>
              <a:srgbClr val="88773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Block Arc 14">
            <a:extLst>
              <a:ext uri="{FF2B5EF4-FFF2-40B4-BE49-F238E27FC236}">
                <a16:creationId xmlns:a16="http://schemas.microsoft.com/office/drawing/2014/main" id="{348B5398-8B59-4EE2-BA5A-884D772B22BD}"/>
              </a:ext>
            </a:extLst>
          </p:cNvPr>
          <p:cNvSpPr/>
          <p:nvPr/>
        </p:nvSpPr>
        <p:spPr>
          <a:xfrm rot="16200000">
            <a:off x="10589782" y="2678152"/>
            <a:ext cx="1437591" cy="1438539"/>
          </a:xfrm>
          <a:custGeom>
            <a:avLst/>
            <a:gdLst/>
            <a:ahLst/>
            <a:cxnLst/>
            <a:rect l="l" t="t" r="r" b="b"/>
            <a:pathLst>
              <a:path w="3185463" h="3187558">
                <a:moveTo>
                  <a:pt x="764000" y="2343999"/>
                </a:moveTo>
                <a:cubicBezTo>
                  <a:pt x="566798" y="2256389"/>
                  <a:pt x="385374" y="2134753"/>
                  <a:pt x="230072" y="1981662"/>
                </a:cubicBezTo>
                <a:cubicBezTo>
                  <a:pt x="297001" y="2223876"/>
                  <a:pt x="428049" y="2439341"/>
                  <a:pt x="603989" y="2608945"/>
                </a:cubicBezTo>
                <a:cubicBezTo>
                  <a:pt x="667739" y="2525681"/>
                  <a:pt x="720588" y="2436567"/>
                  <a:pt x="764000" y="2343999"/>
                </a:cubicBezTo>
                <a:close/>
                <a:moveTo>
                  <a:pt x="783530" y="862903"/>
                </a:moveTo>
                <a:cubicBezTo>
                  <a:pt x="737619" y="760936"/>
                  <a:pt x="681240" y="662513"/>
                  <a:pt x="611676" y="571152"/>
                </a:cubicBezTo>
                <a:cubicBezTo>
                  <a:pt x="419218" y="754019"/>
                  <a:pt x="279227" y="991173"/>
                  <a:pt x="215545" y="1258034"/>
                </a:cubicBezTo>
                <a:cubicBezTo>
                  <a:pt x="378729" y="1090139"/>
                  <a:pt x="571934" y="956907"/>
                  <a:pt x="783530" y="862903"/>
                </a:cubicBezTo>
                <a:close/>
                <a:moveTo>
                  <a:pt x="935657" y="1673146"/>
                </a:moveTo>
                <a:lnTo>
                  <a:pt x="227023" y="1673146"/>
                </a:lnTo>
                <a:cubicBezTo>
                  <a:pt x="393068" y="1882941"/>
                  <a:pt x="605618" y="2045968"/>
                  <a:pt x="844267" y="2153109"/>
                </a:cubicBezTo>
                <a:cubicBezTo>
                  <a:pt x="897907" y="1997390"/>
                  <a:pt x="928862" y="1835739"/>
                  <a:pt x="935657" y="1673146"/>
                </a:cubicBezTo>
                <a:close/>
                <a:moveTo>
                  <a:pt x="935928" y="1493146"/>
                </a:moveTo>
                <a:cubicBezTo>
                  <a:pt x="928922" y="1345638"/>
                  <a:pt x="902278" y="1198995"/>
                  <a:pt x="856775" y="1056956"/>
                </a:cubicBezTo>
                <a:cubicBezTo>
                  <a:pt x="636768" y="1156959"/>
                  <a:pt x="439487" y="1304654"/>
                  <a:pt x="281464" y="1493146"/>
                </a:cubicBezTo>
                <a:close/>
                <a:moveTo>
                  <a:pt x="1469785" y="2515107"/>
                </a:moveTo>
                <a:cubicBezTo>
                  <a:pt x="1283000" y="2508124"/>
                  <a:pt x="1100523" y="2472287"/>
                  <a:pt x="927628" y="2411229"/>
                </a:cubicBezTo>
                <a:cubicBezTo>
                  <a:pt x="876831" y="2520843"/>
                  <a:pt x="814172" y="2626182"/>
                  <a:pt x="738220" y="2724387"/>
                </a:cubicBezTo>
                <a:cubicBezTo>
                  <a:pt x="944637" y="2881665"/>
                  <a:pt x="1196120" y="2982471"/>
                  <a:pt x="1469785" y="3005418"/>
                </a:cubicBezTo>
                <a:close/>
                <a:moveTo>
                  <a:pt x="1469785" y="1673146"/>
                </a:moveTo>
                <a:lnTo>
                  <a:pt x="1112275" y="1673146"/>
                </a:lnTo>
                <a:cubicBezTo>
                  <a:pt x="1105327" y="1858153"/>
                  <a:pt x="1070032" y="2042144"/>
                  <a:pt x="1008001" y="2219039"/>
                </a:cubicBezTo>
                <a:cubicBezTo>
                  <a:pt x="1155519" y="2270408"/>
                  <a:pt x="1310845" y="2300826"/>
                  <a:pt x="1469785" y="2307834"/>
                </a:cubicBezTo>
                <a:close/>
                <a:moveTo>
                  <a:pt x="1469785" y="898989"/>
                </a:moveTo>
                <a:cubicBezTo>
                  <a:pt x="1315103" y="907762"/>
                  <a:pt x="1164166" y="938783"/>
                  <a:pt x="1020939" y="990066"/>
                </a:cubicBezTo>
                <a:cubicBezTo>
                  <a:pt x="1074574" y="1153655"/>
                  <a:pt x="1105461" y="1322925"/>
                  <a:pt x="1112368" y="1493146"/>
                </a:cubicBezTo>
                <a:lnTo>
                  <a:pt x="1469785" y="1493146"/>
                </a:lnTo>
                <a:close/>
                <a:moveTo>
                  <a:pt x="1469785" y="182141"/>
                </a:moveTo>
                <a:cubicBezTo>
                  <a:pt x="1199839" y="204777"/>
                  <a:pt x="951477" y="303168"/>
                  <a:pt x="746615" y="456764"/>
                </a:cubicBezTo>
                <a:cubicBezTo>
                  <a:pt x="828296" y="562801"/>
                  <a:pt x="894225" y="677310"/>
                  <a:pt x="947434" y="796072"/>
                </a:cubicBezTo>
                <a:cubicBezTo>
                  <a:pt x="1113886" y="736067"/>
                  <a:pt x="1289644" y="700323"/>
                  <a:pt x="1469785" y="691530"/>
                </a:cubicBezTo>
                <a:close/>
                <a:moveTo>
                  <a:pt x="2150063" y="992171"/>
                </a:moveTo>
                <a:cubicBezTo>
                  <a:pt x="1990712" y="935501"/>
                  <a:pt x="1822242" y="902595"/>
                  <a:pt x="1649785" y="897224"/>
                </a:cubicBezTo>
                <a:lnTo>
                  <a:pt x="1649785" y="1493146"/>
                </a:lnTo>
                <a:lnTo>
                  <a:pt x="2063712" y="1493146"/>
                </a:lnTo>
                <a:cubicBezTo>
                  <a:pt x="2069089" y="1323887"/>
                  <a:pt x="2098366" y="1155330"/>
                  <a:pt x="2150063" y="992171"/>
                </a:cubicBezTo>
                <a:close/>
                <a:moveTo>
                  <a:pt x="2168848" y="2199110"/>
                </a:moveTo>
                <a:cubicBezTo>
                  <a:pt x="2108555" y="2028681"/>
                  <a:pt x="2073581" y="1851532"/>
                  <a:pt x="2065295" y="1673146"/>
                </a:cubicBezTo>
                <a:lnTo>
                  <a:pt x="1649785" y="1673146"/>
                </a:lnTo>
                <a:lnTo>
                  <a:pt x="1649785" y="2307299"/>
                </a:lnTo>
                <a:cubicBezTo>
                  <a:pt x="1829404" y="2299517"/>
                  <a:pt x="2004315" y="2261965"/>
                  <a:pt x="2168848" y="2199110"/>
                </a:cubicBezTo>
                <a:close/>
                <a:moveTo>
                  <a:pt x="2422394" y="446879"/>
                </a:moveTo>
                <a:cubicBezTo>
                  <a:pt x="2204309" y="287209"/>
                  <a:pt x="1938140" y="189883"/>
                  <a:pt x="1649785" y="178919"/>
                </a:cubicBezTo>
                <a:lnTo>
                  <a:pt x="1649785" y="689876"/>
                </a:lnTo>
                <a:cubicBezTo>
                  <a:pt x="1846998" y="695154"/>
                  <a:pt x="2039668" y="732502"/>
                  <a:pt x="2221721" y="797410"/>
                </a:cubicBezTo>
                <a:cubicBezTo>
                  <a:pt x="2275056" y="675360"/>
                  <a:pt x="2341760" y="557662"/>
                  <a:pt x="2422394" y="446879"/>
                </a:cubicBezTo>
                <a:close/>
                <a:moveTo>
                  <a:pt x="2447278" y="2722123"/>
                </a:moveTo>
                <a:cubicBezTo>
                  <a:pt x="2366121" y="2618714"/>
                  <a:pt x="2299534" y="2507403"/>
                  <a:pt x="2246145" y="2391362"/>
                </a:cubicBezTo>
                <a:cubicBezTo>
                  <a:pt x="2057375" y="2464119"/>
                  <a:pt x="1856285" y="2506958"/>
                  <a:pt x="1649785" y="2514779"/>
                </a:cubicBezTo>
                <a:lnTo>
                  <a:pt x="1649785" y="3008639"/>
                </a:lnTo>
                <a:cubicBezTo>
                  <a:pt x="1949198" y="2997255"/>
                  <a:pt x="2224691" y="2892757"/>
                  <a:pt x="2447278" y="2722123"/>
                </a:cubicBezTo>
                <a:close/>
                <a:moveTo>
                  <a:pt x="2878934" y="1493146"/>
                </a:moveTo>
                <a:cubicBezTo>
                  <a:pt x="2723190" y="1307255"/>
                  <a:pt x="2529440" y="1161128"/>
                  <a:pt x="2313862" y="1060620"/>
                </a:cubicBezTo>
                <a:cubicBezTo>
                  <a:pt x="2270535" y="1201714"/>
                  <a:pt x="2245604" y="1347104"/>
                  <a:pt x="2240109" y="1493146"/>
                </a:cubicBezTo>
                <a:close/>
                <a:moveTo>
                  <a:pt x="2890636" y="1673146"/>
                </a:moveTo>
                <a:lnTo>
                  <a:pt x="2241814" y="1673146"/>
                </a:lnTo>
                <a:cubicBezTo>
                  <a:pt x="2249736" y="1827102"/>
                  <a:pt x="2279520" y="1979973"/>
                  <a:pt x="2329964" y="2127513"/>
                </a:cubicBezTo>
                <a:cubicBezTo>
                  <a:pt x="2545677" y="2019923"/>
                  <a:pt x="2738160" y="1866413"/>
                  <a:pt x="2890636" y="1673146"/>
                </a:cubicBezTo>
                <a:close/>
                <a:moveTo>
                  <a:pt x="2973035" y="1284386"/>
                </a:moveTo>
                <a:cubicBezTo>
                  <a:pt x="2912066" y="1001840"/>
                  <a:pt x="2765308" y="751379"/>
                  <a:pt x="2561381" y="561108"/>
                </a:cubicBezTo>
                <a:cubicBezTo>
                  <a:pt x="2489321" y="656437"/>
                  <a:pt x="2431363" y="759225"/>
                  <a:pt x="2384553" y="865647"/>
                </a:cubicBezTo>
                <a:cubicBezTo>
                  <a:pt x="2604520" y="964977"/>
                  <a:pt x="2804622" y="1106677"/>
                  <a:pt x="2973035" y="1284386"/>
                </a:cubicBezTo>
                <a:close/>
                <a:moveTo>
                  <a:pt x="2974277" y="1897328"/>
                </a:moveTo>
                <a:cubicBezTo>
                  <a:pt x="2812488" y="2073933"/>
                  <a:pt x="2619878" y="2216690"/>
                  <a:pt x="2407486" y="2319665"/>
                </a:cubicBezTo>
                <a:cubicBezTo>
                  <a:pt x="2454169" y="2420503"/>
                  <a:pt x="2511856" y="2517376"/>
                  <a:pt x="2582047" y="2607468"/>
                </a:cubicBezTo>
                <a:cubicBezTo>
                  <a:pt x="2776399" y="2417974"/>
                  <a:pt x="2916061" y="2172750"/>
                  <a:pt x="2974277" y="1897328"/>
                </a:cubicBezTo>
                <a:close/>
                <a:moveTo>
                  <a:pt x="3185463" y="1593779"/>
                </a:moveTo>
                <a:cubicBezTo>
                  <a:pt x="3185463" y="2473999"/>
                  <a:pt x="2471904" y="3187558"/>
                  <a:pt x="1591684" y="3187558"/>
                </a:cubicBezTo>
                <a:cubicBezTo>
                  <a:pt x="738111" y="3187558"/>
                  <a:pt x="41261" y="2516549"/>
                  <a:pt x="1913" y="1673146"/>
                </a:cubicBezTo>
                <a:lnTo>
                  <a:pt x="0" y="1673146"/>
                </a:lnTo>
                <a:lnTo>
                  <a:pt x="0" y="1493146"/>
                </a:lnTo>
                <a:lnTo>
                  <a:pt x="2750" y="1493146"/>
                </a:lnTo>
                <a:cubicBezTo>
                  <a:pt x="50490" y="700174"/>
                  <a:pt x="679654" y="64473"/>
                  <a:pt x="1469785" y="6156"/>
                </a:cubicBezTo>
                <a:lnTo>
                  <a:pt x="1469785" y="0"/>
                </a:lnTo>
                <a:lnTo>
                  <a:pt x="1591684" y="0"/>
                </a:lnTo>
                <a:lnTo>
                  <a:pt x="1649785" y="0"/>
                </a:lnTo>
                <a:lnTo>
                  <a:pt x="1649785" y="2934"/>
                </a:lnTo>
                <a:cubicBezTo>
                  <a:pt x="2503127" y="31654"/>
                  <a:pt x="3185463" y="733032"/>
                  <a:pt x="3185463" y="1593779"/>
                </a:cubicBezTo>
                <a:close/>
              </a:path>
            </a:pathLst>
          </a:custGeom>
          <a:solidFill>
            <a:srgbClr val="8877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AC5CB9F-1001-4BAD-A08B-C2348F3A1FEB}"/>
              </a:ext>
            </a:extLst>
          </p:cNvPr>
          <p:cNvCxnSpPr>
            <a:cxnSpLocks/>
          </p:cNvCxnSpPr>
          <p:nvPr/>
        </p:nvCxnSpPr>
        <p:spPr>
          <a:xfrm>
            <a:off x="9865420" y="5854048"/>
            <a:ext cx="1443158" cy="0"/>
          </a:xfrm>
          <a:prstGeom prst="line">
            <a:avLst/>
          </a:prstGeom>
          <a:ln w="19050">
            <a:solidFill>
              <a:srgbClr val="88773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oup 2">
            <a:extLst>
              <a:ext uri="{FF2B5EF4-FFF2-40B4-BE49-F238E27FC236}">
                <a16:creationId xmlns:a16="http://schemas.microsoft.com/office/drawing/2014/main" id="{8AB4EADC-A2D3-4479-9103-E395348B316A}"/>
              </a:ext>
            </a:extLst>
          </p:cNvPr>
          <p:cNvGrpSpPr/>
          <p:nvPr/>
        </p:nvGrpSpPr>
        <p:grpSpPr>
          <a:xfrm>
            <a:off x="7846310" y="4077731"/>
            <a:ext cx="2523434" cy="1937437"/>
            <a:chOff x="8962423" y="3511245"/>
            <a:chExt cx="2523434" cy="1937437"/>
          </a:xfrm>
          <a:solidFill>
            <a:srgbClr val="887735"/>
          </a:solidFill>
        </p:grpSpPr>
        <p:grpSp>
          <p:nvGrpSpPr>
            <p:cNvPr id="23" name="그룹 86">
              <a:extLst>
                <a:ext uri="{FF2B5EF4-FFF2-40B4-BE49-F238E27FC236}">
                  <a16:creationId xmlns:a16="http://schemas.microsoft.com/office/drawing/2014/main" id="{289CF3D2-11AD-4CAA-953D-21E6461306E0}"/>
                </a:ext>
              </a:extLst>
            </p:cNvPr>
            <p:cNvGrpSpPr/>
            <p:nvPr/>
          </p:nvGrpSpPr>
          <p:grpSpPr>
            <a:xfrm>
              <a:off x="9077085" y="4383479"/>
              <a:ext cx="2408772" cy="1065203"/>
              <a:chOff x="1774163" y="2217893"/>
              <a:chExt cx="1927508" cy="852379"/>
            </a:xfrm>
            <a:grpFill/>
          </p:grpSpPr>
          <p:sp>
            <p:nvSpPr>
              <p:cNvPr id="26" name="Freeform 18">
                <a:extLst>
                  <a:ext uri="{FF2B5EF4-FFF2-40B4-BE49-F238E27FC236}">
                    <a16:creationId xmlns:a16="http://schemas.microsoft.com/office/drawing/2014/main" id="{D796F181-3368-43CA-A41E-34AB78016259}"/>
                  </a:ext>
                </a:extLst>
              </p:cNvPr>
              <p:cNvSpPr/>
              <p:nvPr/>
            </p:nvSpPr>
            <p:spPr>
              <a:xfrm flipH="1">
                <a:off x="1774163" y="2350717"/>
                <a:ext cx="1600825" cy="719555"/>
              </a:xfrm>
              <a:custGeom>
                <a:avLst/>
                <a:gdLst>
                  <a:gd name="connsiteX0" fmla="*/ 4126727 w 4126727"/>
                  <a:gd name="connsiteY0" fmla="*/ 866693 h 1836752"/>
                  <a:gd name="connsiteX1" fmla="*/ 2782957 w 4126727"/>
                  <a:gd name="connsiteY1" fmla="*/ 0 h 1836752"/>
                  <a:gd name="connsiteX2" fmla="*/ 2703444 w 4126727"/>
                  <a:gd name="connsiteY2" fmla="*/ 7952 h 1836752"/>
                  <a:gd name="connsiteX3" fmla="*/ 1375576 w 4126727"/>
                  <a:gd name="connsiteY3" fmla="*/ 326004 h 1836752"/>
                  <a:gd name="connsiteX4" fmla="*/ 0 w 4126727"/>
                  <a:gd name="connsiteY4" fmla="*/ 477079 h 1836752"/>
                  <a:gd name="connsiteX5" fmla="*/ 1574358 w 4126727"/>
                  <a:gd name="connsiteY5" fmla="*/ 898498 h 1836752"/>
                  <a:gd name="connsiteX6" fmla="*/ 2576223 w 4126727"/>
                  <a:gd name="connsiteY6" fmla="*/ 1280160 h 1836752"/>
                  <a:gd name="connsiteX7" fmla="*/ 3267986 w 4126727"/>
                  <a:gd name="connsiteY7" fmla="*/ 1836752 h 1836752"/>
                  <a:gd name="connsiteX8" fmla="*/ 4126727 w 4126727"/>
                  <a:gd name="connsiteY8" fmla="*/ 866693 h 1836752"/>
                  <a:gd name="connsiteX0" fmla="*/ 4126727 w 4126727"/>
                  <a:gd name="connsiteY0" fmla="*/ 884466 h 1854525"/>
                  <a:gd name="connsiteX1" fmla="*/ 2782957 w 4126727"/>
                  <a:gd name="connsiteY1" fmla="*/ 17773 h 1854525"/>
                  <a:gd name="connsiteX2" fmla="*/ 2703444 w 4126727"/>
                  <a:gd name="connsiteY2" fmla="*/ 25725 h 1854525"/>
                  <a:gd name="connsiteX3" fmla="*/ 1375576 w 4126727"/>
                  <a:gd name="connsiteY3" fmla="*/ 343777 h 1854525"/>
                  <a:gd name="connsiteX4" fmla="*/ 0 w 4126727"/>
                  <a:gd name="connsiteY4" fmla="*/ 494852 h 1854525"/>
                  <a:gd name="connsiteX5" fmla="*/ 1574358 w 4126727"/>
                  <a:gd name="connsiteY5" fmla="*/ 916271 h 1854525"/>
                  <a:gd name="connsiteX6" fmla="*/ 2576223 w 4126727"/>
                  <a:gd name="connsiteY6" fmla="*/ 1297933 h 1854525"/>
                  <a:gd name="connsiteX7" fmla="*/ 3267986 w 4126727"/>
                  <a:gd name="connsiteY7" fmla="*/ 1854525 h 1854525"/>
                  <a:gd name="connsiteX8" fmla="*/ 4126727 w 4126727"/>
                  <a:gd name="connsiteY8" fmla="*/ 884466 h 1854525"/>
                  <a:gd name="connsiteX0" fmla="*/ 1375576 w 4126727"/>
                  <a:gd name="connsiteY0" fmla="*/ 331865 h 1842613"/>
                  <a:gd name="connsiteX1" fmla="*/ 0 w 4126727"/>
                  <a:gd name="connsiteY1" fmla="*/ 482940 h 1842613"/>
                  <a:gd name="connsiteX2" fmla="*/ 1574358 w 4126727"/>
                  <a:gd name="connsiteY2" fmla="*/ 904359 h 1842613"/>
                  <a:gd name="connsiteX3" fmla="*/ 2576223 w 4126727"/>
                  <a:gd name="connsiteY3" fmla="*/ 1286021 h 1842613"/>
                  <a:gd name="connsiteX4" fmla="*/ 3267986 w 4126727"/>
                  <a:gd name="connsiteY4" fmla="*/ 1842613 h 1842613"/>
                  <a:gd name="connsiteX5" fmla="*/ 4126727 w 4126727"/>
                  <a:gd name="connsiteY5" fmla="*/ 872554 h 1842613"/>
                  <a:gd name="connsiteX6" fmla="*/ 2782957 w 4126727"/>
                  <a:gd name="connsiteY6" fmla="*/ 5861 h 1842613"/>
                  <a:gd name="connsiteX7" fmla="*/ 2794884 w 4126727"/>
                  <a:gd name="connsiteY7" fmla="*/ 105253 h 1842613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126727"/>
                  <a:gd name="connsiteY0" fmla="*/ 326004 h 1836752"/>
                  <a:gd name="connsiteX1" fmla="*/ 0 w 4126727"/>
                  <a:gd name="connsiteY1" fmla="*/ 477079 h 1836752"/>
                  <a:gd name="connsiteX2" fmla="*/ 1574358 w 4126727"/>
                  <a:gd name="connsiteY2" fmla="*/ 898498 h 1836752"/>
                  <a:gd name="connsiteX3" fmla="*/ 2576223 w 4126727"/>
                  <a:gd name="connsiteY3" fmla="*/ 1280160 h 1836752"/>
                  <a:gd name="connsiteX4" fmla="*/ 3267986 w 4126727"/>
                  <a:gd name="connsiteY4" fmla="*/ 1836752 h 1836752"/>
                  <a:gd name="connsiteX5" fmla="*/ 4126727 w 4126727"/>
                  <a:gd name="connsiteY5" fmla="*/ 866693 h 1836752"/>
                  <a:gd name="connsiteX6" fmla="*/ 2782957 w 412672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1375576 w 4063117"/>
                  <a:gd name="connsiteY7" fmla="*/ 326004 h 1836752"/>
                  <a:gd name="connsiteX0" fmla="*/ 1375576 w 4063117"/>
                  <a:gd name="connsiteY0" fmla="*/ 390578 h 1901326"/>
                  <a:gd name="connsiteX1" fmla="*/ 0 w 4063117"/>
                  <a:gd name="connsiteY1" fmla="*/ 541653 h 1901326"/>
                  <a:gd name="connsiteX2" fmla="*/ 1574358 w 4063117"/>
                  <a:gd name="connsiteY2" fmla="*/ 963072 h 1901326"/>
                  <a:gd name="connsiteX3" fmla="*/ 2576223 w 4063117"/>
                  <a:gd name="connsiteY3" fmla="*/ 1344734 h 1901326"/>
                  <a:gd name="connsiteX4" fmla="*/ 3267986 w 4063117"/>
                  <a:gd name="connsiteY4" fmla="*/ 1901326 h 1901326"/>
                  <a:gd name="connsiteX5" fmla="*/ 4063117 w 4063117"/>
                  <a:gd name="connsiteY5" fmla="*/ 994878 h 1901326"/>
                  <a:gd name="connsiteX6" fmla="*/ 2782957 w 4063117"/>
                  <a:gd name="connsiteY6" fmla="*/ 64574 h 1901326"/>
                  <a:gd name="connsiteX7" fmla="*/ 2178658 w 4063117"/>
                  <a:gd name="connsiteY7" fmla="*/ 96380 h 1901326"/>
                  <a:gd name="connsiteX8" fmla="*/ 1375576 w 4063117"/>
                  <a:gd name="connsiteY8" fmla="*/ 390578 h 1901326"/>
                  <a:gd name="connsiteX0" fmla="*/ 1375576 w 4063117"/>
                  <a:gd name="connsiteY0" fmla="*/ 383650 h 1894398"/>
                  <a:gd name="connsiteX1" fmla="*/ 0 w 4063117"/>
                  <a:gd name="connsiteY1" fmla="*/ 534725 h 1894398"/>
                  <a:gd name="connsiteX2" fmla="*/ 1574358 w 4063117"/>
                  <a:gd name="connsiteY2" fmla="*/ 956144 h 1894398"/>
                  <a:gd name="connsiteX3" fmla="*/ 2576223 w 4063117"/>
                  <a:gd name="connsiteY3" fmla="*/ 1337806 h 1894398"/>
                  <a:gd name="connsiteX4" fmla="*/ 3267986 w 4063117"/>
                  <a:gd name="connsiteY4" fmla="*/ 1894398 h 1894398"/>
                  <a:gd name="connsiteX5" fmla="*/ 4063117 w 4063117"/>
                  <a:gd name="connsiteY5" fmla="*/ 987950 h 1894398"/>
                  <a:gd name="connsiteX6" fmla="*/ 2782957 w 4063117"/>
                  <a:gd name="connsiteY6" fmla="*/ 57646 h 1894398"/>
                  <a:gd name="connsiteX7" fmla="*/ 2178658 w 4063117"/>
                  <a:gd name="connsiteY7" fmla="*/ 89452 h 1894398"/>
                  <a:gd name="connsiteX8" fmla="*/ 1375576 w 4063117"/>
                  <a:gd name="connsiteY8" fmla="*/ 383650 h 1894398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375576 w 4063117"/>
                  <a:gd name="connsiteY0" fmla="*/ 326004 h 1836752"/>
                  <a:gd name="connsiteX1" fmla="*/ 0 w 4063117"/>
                  <a:gd name="connsiteY1" fmla="*/ 477079 h 1836752"/>
                  <a:gd name="connsiteX2" fmla="*/ 1574358 w 4063117"/>
                  <a:gd name="connsiteY2" fmla="*/ 898498 h 1836752"/>
                  <a:gd name="connsiteX3" fmla="*/ 2576223 w 4063117"/>
                  <a:gd name="connsiteY3" fmla="*/ 1280160 h 1836752"/>
                  <a:gd name="connsiteX4" fmla="*/ 3267986 w 4063117"/>
                  <a:gd name="connsiteY4" fmla="*/ 1836752 h 1836752"/>
                  <a:gd name="connsiteX5" fmla="*/ 4063117 w 4063117"/>
                  <a:gd name="connsiteY5" fmla="*/ 930304 h 1836752"/>
                  <a:gd name="connsiteX6" fmla="*/ 2782957 w 4063117"/>
                  <a:gd name="connsiteY6" fmla="*/ 0 h 1836752"/>
                  <a:gd name="connsiteX7" fmla="*/ 2178658 w 4063117"/>
                  <a:gd name="connsiteY7" fmla="*/ 31806 h 1836752"/>
                  <a:gd name="connsiteX8" fmla="*/ 1375576 w 4063117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19093 w 4106634"/>
                  <a:gd name="connsiteY0" fmla="*/ 326004 h 1836752"/>
                  <a:gd name="connsiteX1" fmla="*/ 43517 w 4106634"/>
                  <a:gd name="connsiteY1" fmla="*/ 477079 h 1836752"/>
                  <a:gd name="connsiteX2" fmla="*/ 1617875 w 4106634"/>
                  <a:gd name="connsiteY2" fmla="*/ 898498 h 1836752"/>
                  <a:gd name="connsiteX3" fmla="*/ 2619740 w 4106634"/>
                  <a:gd name="connsiteY3" fmla="*/ 1280160 h 1836752"/>
                  <a:gd name="connsiteX4" fmla="*/ 3311503 w 4106634"/>
                  <a:gd name="connsiteY4" fmla="*/ 1836752 h 1836752"/>
                  <a:gd name="connsiteX5" fmla="*/ 4106634 w 4106634"/>
                  <a:gd name="connsiteY5" fmla="*/ 930304 h 1836752"/>
                  <a:gd name="connsiteX6" fmla="*/ 2826474 w 4106634"/>
                  <a:gd name="connsiteY6" fmla="*/ 0 h 1836752"/>
                  <a:gd name="connsiteX7" fmla="*/ 2222175 w 4106634"/>
                  <a:gd name="connsiteY7" fmla="*/ 31806 h 1836752"/>
                  <a:gd name="connsiteX8" fmla="*/ 1419093 w 4106634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625109 w 4112003"/>
                  <a:gd name="connsiteY3" fmla="*/ 1280160 h 1836752"/>
                  <a:gd name="connsiteX4" fmla="*/ 3316872 w 4112003"/>
                  <a:gd name="connsiteY4" fmla="*/ 1836752 h 1836752"/>
                  <a:gd name="connsiteX5" fmla="*/ 4112003 w 4112003"/>
                  <a:gd name="connsiteY5" fmla="*/ 930304 h 1836752"/>
                  <a:gd name="connsiteX6" fmla="*/ 2831843 w 4112003"/>
                  <a:gd name="connsiteY6" fmla="*/ 0 h 1836752"/>
                  <a:gd name="connsiteX7" fmla="*/ 2227544 w 4112003"/>
                  <a:gd name="connsiteY7" fmla="*/ 31806 h 1836752"/>
                  <a:gd name="connsiteX8" fmla="*/ 1424462 w 4112003"/>
                  <a:gd name="connsiteY8" fmla="*/ 326004 h 1836752"/>
                  <a:gd name="connsiteX0" fmla="*/ 1424462 w 4112003"/>
                  <a:gd name="connsiteY0" fmla="*/ 326004 h 1836752"/>
                  <a:gd name="connsiteX1" fmla="*/ 48886 w 4112003"/>
                  <a:gd name="connsiteY1" fmla="*/ 477079 h 1836752"/>
                  <a:gd name="connsiteX2" fmla="*/ 1623244 w 4112003"/>
                  <a:gd name="connsiteY2" fmla="*/ 898498 h 1836752"/>
                  <a:gd name="connsiteX3" fmla="*/ 2132129 w 4112003"/>
                  <a:gd name="connsiteY3" fmla="*/ 993914 h 1836752"/>
                  <a:gd name="connsiteX4" fmla="*/ 2625109 w 4112003"/>
                  <a:gd name="connsiteY4" fmla="*/ 1280160 h 1836752"/>
                  <a:gd name="connsiteX5" fmla="*/ 3316872 w 4112003"/>
                  <a:gd name="connsiteY5" fmla="*/ 1836752 h 1836752"/>
                  <a:gd name="connsiteX6" fmla="*/ 4112003 w 4112003"/>
                  <a:gd name="connsiteY6" fmla="*/ 930304 h 1836752"/>
                  <a:gd name="connsiteX7" fmla="*/ 2831843 w 4112003"/>
                  <a:gd name="connsiteY7" fmla="*/ 0 h 1836752"/>
                  <a:gd name="connsiteX8" fmla="*/ 2227544 w 4112003"/>
                  <a:gd name="connsiteY8" fmla="*/ 31806 h 1836752"/>
                  <a:gd name="connsiteX9" fmla="*/ 1424462 w 4112003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26004 h 1836752"/>
                  <a:gd name="connsiteX1" fmla="*/ 59649 w 4122766"/>
                  <a:gd name="connsiteY1" fmla="*/ 477079 h 1836752"/>
                  <a:gd name="connsiteX2" fmla="*/ 1634007 w 4122766"/>
                  <a:gd name="connsiteY2" fmla="*/ 898498 h 1836752"/>
                  <a:gd name="connsiteX3" fmla="*/ 2142892 w 4122766"/>
                  <a:gd name="connsiteY3" fmla="*/ 993914 h 1836752"/>
                  <a:gd name="connsiteX4" fmla="*/ 2635872 w 4122766"/>
                  <a:gd name="connsiteY4" fmla="*/ 1280160 h 1836752"/>
                  <a:gd name="connsiteX5" fmla="*/ 3327635 w 4122766"/>
                  <a:gd name="connsiteY5" fmla="*/ 1836752 h 1836752"/>
                  <a:gd name="connsiteX6" fmla="*/ 4122766 w 4122766"/>
                  <a:gd name="connsiteY6" fmla="*/ 930304 h 1836752"/>
                  <a:gd name="connsiteX7" fmla="*/ 2842606 w 4122766"/>
                  <a:gd name="connsiteY7" fmla="*/ 0 h 1836752"/>
                  <a:gd name="connsiteX8" fmla="*/ 2238307 w 4122766"/>
                  <a:gd name="connsiteY8" fmla="*/ 31806 h 1836752"/>
                  <a:gd name="connsiteX9" fmla="*/ 1435225 w 4122766"/>
                  <a:gd name="connsiteY9" fmla="*/ 326004 h 1836752"/>
                  <a:gd name="connsiteX0" fmla="*/ 1435225 w 4122766"/>
                  <a:gd name="connsiteY0" fmla="*/ 338408 h 1849156"/>
                  <a:gd name="connsiteX1" fmla="*/ 59649 w 4122766"/>
                  <a:gd name="connsiteY1" fmla="*/ 489483 h 1849156"/>
                  <a:gd name="connsiteX2" fmla="*/ 1634007 w 4122766"/>
                  <a:gd name="connsiteY2" fmla="*/ 910902 h 1849156"/>
                  <a:gd name="connsiteX3" fmla="*/ 2142892 w 4122766"/>
                  <a:gd name="connsiteY3" fmla="*/ 1006318 h 1849156"/>
                  <a:gd name="connsiteX4" fmla="*/ 2635872 w 4122766"/>
                  <a:gd name="connsiteY4" fmla="*/ 1292564 h 1849156"/>
                  <a:gd name="connsiteX5" fmla="*/ 3327635 w 4122766"/>
                  <a:gd name="connsiteY5" fmla="*/ 1849156 h 1849156"/>
                  <a:gd name="connsiteX6" fmla="*/ 4122766 w 4122766"/>
                  <a:gd name="connsiteY6" fmla="*/ 942708 h 1849156"/>
                  <a:gd name="connsiteX7" fmla="*/ 2842606 w 4122766"/>
                  <a:gd name="connsiteY7" fmla="*/ 12404 h 1849156"/>
                  <a:gd name="connsiteX8" fmla="*/ 2238307 w 4122766"/>
                  <a:gd name="connsiteY8" fmla="*/ 44210 h 1849156"/>
                  <a:gd name="connsiteX9" fmla="*/ 1435225 w 4122766"/>
                  <a:gd name="connsiteY9" fmla="*/ 338408 h 1849156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54916 h 1865664"/>
                  <a:gd name="connsiteX1" fmla="*/ 59649 w 4122766"/>
                  <a:gd name="connsiteY1" fmla="*/ 505991 h 1865664"/>
                  <a:gd name="connsiteX2" fmla="*/ 1634007 w 4122766"/>
                  <a:gd name="connsiteY2" fmla="*/ 927410 h 1865664"/>
                  <a:gd name="connsiteX3" fmla="*/ 2142892 w 4122766"/>
                  <a:gd name="connsiteY3" fmla="*/ 1022826 h 1865664"/>
                  <a:gd name="connsiteX4" fmla="*/ 2635872 w 4122766"/>
                  <a:gd name="connsiteY4" fmla="*/ 1309072 h 1865664"/>
                  <a:gd name="connsiteX5" fmla="*/ 3327635 w 4122766"/>
                  <a:gd name="connsiteY5" fmla="*/ 1865664 h 1865664"/>
                  <a:gd name="connsiteX6" fmla="*/ 4122766 w 4122766"/>
                  <a:gd name="connsiteY6" fmla="*/ 959216 h 1865664"/>
                  <a:gd name="connsiteX7" fmla="*/ 2842606 w 4122766"/>
                  <a:gd name="connsiteY7" fmla="*/ 28912 h 1865664"/>
                  <a:gd name="connsiteX8" fmla="*/ 2238307 w 4122766"/>
                  <a:gd name="connsiteY8" fmla="*/ 60718 h 1865664"/>
                  <a:gd name="connsiteX9" fmla="*/ 1435225 w 4122766"/>
                  <a:gd name="connsiteY9" fmla="*/ 354916 h 1865664"/>
                  <a:gd name="connsiteX0" fmla="*/ 1435225 w 4122766"/>
                  <a:gd name="connsiteY0" fmla="*/ 339809 h 1850557"/>
                  <a:gd name="connsiteX1" fmla="*/ 59649 w 4122766"/>
                  <a:gd name="connsiteY1" fmla="*/ 490884 h 1850557"/>
                  <a:gd name="connsiteX2" fmla="*/ 1634007 w 4122766"/>
                  <a:gd name="connsiteY2" fmla="*/ 912303 h 1850557"/>
                  <a:gd name="connsiteX3" fmla="*/ 2142892 w 4122766"/>
                  <a:gd name="connsiteY3" fmla="*/ 1007719 h 1850557"/>
                  <a:gd name="connsiteX4" fmla="*/ 2635872 w 4122766"/>
                  <a:gd name="connsiteY4" fmla="*/ 1293965 h 1850557"/>
                  <a:gd name="connsiteX5" fmla="*/ 3327635 w 4122766"/>
                  <a:gd name="connsiteY5" fmla="*/ 1850557 h 1850557"/>
                  <a:gd name="connsiteX6" fmla="*/ 4122766 w 4122766"/>
                  <a:gd name="connsiteY6" fmla="*/ 944109 h 1850557"/>
                  <a:gd name="connsiteX7" fmla="*/ 2842606 w 4122766"/>
                  <a:gd name="connsiteY7" fmla="*/ 13805 h 1850557"/>
                  <a:gd name="connsiteX8" fmla="*/ 2166745 w 4122766"/>
                  <a:gd name="connsiteY8" fmla="*/ 93319 h 1850557"/>
                  <a:gd name="connsiteX9" fmla="*/ 1435225 w 4122766"/>
                  <a:gd name="connsiteY9" fmla="*/ 339809 h 1850557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67230 h 1877978"/>
                  <a:gd name="connsiteX1" fmla="*/ 59649 w 4122766"/>
                  <a:gd name="connsiteY1" fmla="*/ 518305 h 1877978"/>
                  <a:gd name="connsiteX2" fmla="*/ 1634007 w 4122766"/>
                  <a:gd name="connsiteY2" fmla="*/ 939724 h 1877978"/>
                  <a:gd name="connsiteX3" fmla="*/ 2142892 w 4122766"/>
                  <a:gd name="connsiteY3" fmla="*/ 1035140 h 1877978"/>
                  <a:gd name="connsiteX4" fmla="*/ 2635872 w 4122766"/>
                  <a:gd name="connsiteY4" fmla="*/ 1321386 h 1877978"/>
                  <a:gd name="connsiteX5" fmla="*/ 3327635 w 4122766"/>
                  <a:gd name="connsiteY5" fmla="*/ 1877978 h 1877978"/>
                  <a:gd name="connsiteX6" fmla="*/ 4122766 w 4122766"/>
                  <a:gd name="connsiteY6" fmla="*/ 971530 h 1877978"/>
                  <a:gd name="connsiteX7" fmla="*/ 2842606 w 4122766"/>
                  <a:gd name="connsiteY7" fmla="*/ 9421 h 1877978"/>
                  <a:gd name="connsiteX8" fmla="*/ 2166745 w 4122766"/>
                  <a:gd name="connsiteY8" fmla="*/ 120740 h 1877978"/>
                  <a:gd name="connsiteX9" fmla="*/ 1435225 w 4122766"/>
                  <a:gd name="connsiteY9" fmla="*/ 367230 h 1877978"/>
                  <a:gd name="connsiteX0" fmla="*/ 1435225 w 4122766"/>
                  <a:gd name="connsiteY0" fmla="*/ 376690 h 1887438"/>
                  <a:gd name="connsiteX1" fmla="*/ 59649 w 4122766"/>
                  <a:gd name="connsiteY1" fmla="*/ 527765 h 1887438"/>
                  <a:gd name="connsiteX2" fmla="*/ 1634007 w 4122766"/>
                  <a:gd name="connsiteY2" fmla="*/ 949184 h 1887438"/>
                  <a:gd name="connsiteX3" fmla="*/ 2142892 w 4122766"/>
                  <a:gd name="connsiteY3" fmla="*/ 1044600 h 1887438"/>
                  <a:gd name="connsiteX4" fmla="*/ 2635872 w 4122766"/>
                  <a:gd name="connsiteY4" fmla="*/ 1330846 h 1887438"/>
                  <a:gd name="connsiteX5" fmla="*/ 3327635 w 4122766"/>
                  <a:gd name="connsiteY5" fmla="*/ 1887438 h 1887438"/>
                  <a:gd name="connsiteX6" fmla="*/ 4122766 w 4122766"/>
                  <a:gd name="connsiteY6" fmla="*/ 980990 h 1887438"/>
                  <a:gd name="connsiteX7" fmla="*/ 2842606 w 4122766"/>
                  <a:gd name="connsiteY7" fmla="*/ 18881 h 1887438"/>
                  <a:gd name="connsiteX8" fmla="*/ 2166745 w 4122766"/>
                  <a:gd name="connsiteY8" fmla="*/ 130200 h 1887438"/>
                  <a:gd name="connsiteX9" fmla="*/ 1435225 w 4122766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635872 w 4067107"/>
                  <a:gd name="connsiteY4" fmla="*/ 1330846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887438"/>
                  <a:gd name="connsiteX1" fmla="*/ 59649 w 4067107"/>
                  <a:gd name="connsiteY1" fmla="*/ 527765 h 1887438"/>
                  <a:gd name="connsiteX2" fmla="*/ 1634007 w 4067107"/>
                  <a:gd name="connsiteY2" fmla="*/ 949184 h 1887438"/>
                  <a:gd name="connsiteX3" fmla="*/ 2142892 w 4067107"/>
                  <a:gd name="connsiteY3" fmla="*/ 1044600 h 1887438"/>
                  <a:gd name="connsiteX4" fmla="*/ 2548408 w 4067107"/>
                  <a:gd name="connsiteY4" fmla="*/ 1275187 h 1887438"/>
                  <a:gd name="connsiteX5" fmla="*/ 3327635 w 4067107"/>
                  <a:gd name="connsiteY5" fmla="*/ 1887438 h 1887438"/>
                  <a:gd name="connsiteX6" fmla="*/ 4067107 w 4067107"/>
                  <a:gd name="connsiteY6" fmla="*/ 1036649 h 1887438"/>
                  <a:gd name="connsiteX7" fmla="*/ 2842606 w 4067107"/>
                  <a:gd name="connsiteY7" fmla="*/ 18881 h 1887438"/>
                  <a:gd name="connsiteX8" fmla="*/ 2166745 w 4067107"/>
                  <a:gd name="connsiteY8" fmla="*/ 130200 h 1887438"/>
                  <a:gd name="connsiteX9" fmla="*/ 1435225 w 4067107"/>
                  <a:gd name="connsiteY9" fmla="*/ 376690 h 1887438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089096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548408 w 4067107"/>
                  <a:gd name="connsiteY4" fmla="*/ 1275187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927194"/>
                  <a:gd name="connsiteX1" fmla="*/ 59649 w 4067107"/>
                  <a:gd name="connsiteY1" fmla="*/ 527765 h 1927194"/>
                  <a:gd name="connsiteX2" fmla="*/ 1634007 w 4067107"/>
                  <a:gd name="connsiteY2" fmla="*/ 949184 h 1927194"/>
                  <a:gd name="connsiteX3" fmla="*/ 2142892 w 4067107"/>
                  <a:gd name="connsiteY3" fmla="*/ 1044600 h 1927194"/>
                  <a:gd name="connsiteX4" fmla="*/ 2476846 w 4067107"/>
                  <a:gd name="connsiteY4" fmla="*/ 1378554 h 1927194"/>
                  <a:gd name="connsiteX5" fmla="*/ 3256074 w 4067107"/>
                  <a:gd name="connsiteY5" fmla="*/ 1927194 h 1927194"/>
                  <a:gd name="connsiteX6" fmla="*/ 4067107 w 4067107"/>
                  <a:gd name="connsiteY6" fmla="*/ 1036649 h 1927194"/>
                  <a:gd name="connsiteX7" fmla="*/ 2842606 w 4067107"/>
                  <a:gd name="connsiteY7" fmla="*/ 18881 h 1927194"/>
                  <a:gd name="connsiteX8" fmla="*/ 2166745 w 4067107"/>
                  <a:gd name="connsiteY8" fmla="*/ 130200 h 1927194"/>
                  <a:gd name="connsiteX9" fmla="*/ 1435225 w 4067107"/>
                  <a:gd name="connsiteY9" fmla="*/ 376690 h 1927194"/>
                  <a:gd name="connsiteX0" fmla="*/ 1435225 w 4067107"/>
                  <a:gd name="connsiteY0" fmla="*/ 376690 h 1747240"/>
                  <a:gd name="connsiteX1" fmla="*/ 59649 w 4067107"/>
                  <a:gd name="connsiteY1" fmla="*/ 527765 h 1747240"/>
                  <a:gd name="connsiteX2" fmla="*/ 1634007 w 4067107"/>
                  <a:gd name="connsiteY2" fmla="*/ 949184 h 1747240"/>
                  <a:gd name="connsiteX3" fmla="*/ 2142892 w 4067107"/>
                  <a:gd name="connsiteY3" fmla="*/ 1044600 h 1747240"/>
                  <a:gd name="connsiteX4" fmla="*/ 2476846 w 4067107"/>
                  <a:gd name="connsiteY4" fmla="*/ 1378554 h 1747240"/>
                  <a:gd name="connsiteX5" fmla="*/ 3004138 w 4067107"/>
                  <a:gd name="connsiteY5" fmla="*/ 1747240 h 1747240"/>
                  <a:gd name="connsiteX6" fmla="*/ 4067107 w 4067107"/>
                  <a:gd name="connsiteY6" fmla="*/ 1036649 h 1747240"/>
                  <a:gd name="connsiteX7" fmla="*/ 2842606 w 4067107"/>
                  <a:gd name="connsiteY7" fmla="*/ 18881 h 1747240"/>
                  <a:gd name="connsiteX8" fmla="*/ 2166745 w 4067107"/>
                  <a:gd name="connsiteY8" fmla="*/ 130200 h 1747240"/>
                  <a:gd name="connsiteX9" fmla="*/ 1435225 w 4067107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3004138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  <a:gd name="connsiteX0" fmla="*/ 1435225 w 3887153"/>
                  <a:gd name="connsiteY0" fmla="*/ 376690 h 1747240"/>
                  <a:gd name="connsiteX1" fmla="*/ 59649 w 3887153"/>
                  <a:gd name="connsiteY1" fmla="*/ 527765 h 1747240"/>
                  <a:gd name="connsiteX2" fmla="*/ 1634007 w 3887153"/>
                  <a:gd name="connsiteY2" fmla="*/ 949184 h 1747240"/>
                  <a:gd name="connsiteX3" fmla="*/ 2142892 w 3887153"/>
                  <a:gd name="connsiteY3" fmla="*/ 1044600 h 1747240"/>
                  <a:gd name="connsiteX4" fmla="*/ 2476846 w 3887153"/>
                  <a:gd name="connsiteY4" fmla="*/ 1378554 h 1747240"/>
                  <a:gd name="connsiteX5" fmla="*/ 2806187 w 3887153"/>
                  <a:gd name="connsiteY5" fmla="*/ 1747240 h 1747240"/>
                  <a:gd name="connsiteX6" fmla="*/ 3887153 w 3887153"/>
                  <a:gd name="connsiteY6" fmla="*/ 784714 h 1747240"/>
                  <a:gd name="connsiteX7" fmla="*/ 2842606 w 3887153"/>
                  <a:gd name="connsiteY7" fmla="*/ 18881 h 1747240"/>
                  <a:gd name="connsiteX8" fmla="*/ 2166745 w 3887153"/>
                  <a:gd name="connsiteY8" fmla="*/ 130200 h 1747240"/>
                  <a:gd name="connsiteX9" fmla="*/ 1435225 w 3887153"/>
                  <a:gd name="connsiteY9" fmla="*/ 376690 h 174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87153" h="1747240">
                    <a:moveTo>
                      <a:pt x="1435225" y="376690"/>
                    </a:moveTo>
                    <a:cubicBezTo>
                      <a:pt x="921041" y="355486"/>
                      <a:pt x="168317" y="374040"/>
                      <a:pt x="59649" y="527765"/>
                    </a:cubicBezTo>
                    <a:cubicBezTo>
                      <a:pt x="-282257" y="890874"/>
                      <a:pt x="926341" y="920030"/>
                      <a:pt x="1634007" y="949184"/>
                    </a:cubicBezTo>
                    <a:cubicBezTo>
                      <a:pt x="1755927" y="988940"/>
                      <a:pt x="2020972" y="1004844"/>
                      <a:pt x="2142892" y="1044600"/>
                    </a:cubicBezTo>
                    <a:lnTo>
                      <a:pt x="2476846" y="1378554"/>
                    </a:lnTo>
                    <a:lnTo>
                      <a:pt x="2806187" y="1747240"/>
                    </a:lnTo>
                    <a:lnTo>
                      <a:pt x="3887153" y="784714"/>
                    </a:lnTo>
                    <a:cubicBezTo>
                      <a:pt x="3502840" y="495816"/>
                      <a:pt x="3512746" y="372650"/>
                      <a:pt x="2842606" y="18881"/>
                    </a:cubicBezTo>
                    <a:cubicBezTo>
                      <a:pt x="2541783" y="-38103"/>
                      <a:pt x="2417210" y="44060"/>
                      <a:pt x="2166745" y="130200"/>
                    </a:cubicBezTo>
                    <a:cubicBezTo>
                      <a:pt x="1932182" y="184534"/>
                      <a:pt x="1811587" y="315730"/>
                      <a:pt x="1435225" y="376690"/>
                    </a:cubicBezTo>
                    <a:close/>
                  </a:path>
                </a:pathLst>
              </a:custGeom>
              <a:noFill/>
              <a:ln>
                <a:solidFill>
                  <a:srgbClr val="8877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/>
              </a:p>
            </p:txBody>
          </p:sp>
          <p:sp>
            <p:nvSpPr>
              <p:cNvPr id="27" name="Freeform 19">
                <a:extLst>
                  <a:ext uri="{FF2B5EF4-FFF2-40B4-BE49-F238E27FC236}">
                    <a16:creationId xmlns:a16="http://schemas.microsoft.com/office/drawing/2014/main" id="{3CA54D79-09CE-45D7-9AFF-6CAFD39EB956}"/>
                  </a:ext>
                </a:extLst>
              </p:cNvPr>
              <p:cNvSpPr/>
              <p:nvPr/>
            </p:nvSpPr>
            <p:spPr>
              <a:xfrm flipH="1">
                <a:off x="2156087" y="2217893"/>
                <a:ext cx="1545584" cy="794676"/>
              </a:xfrm>
              <a:custGeom>
                <a:avLst/>
                <a:gdLst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288111 w 3347499"/>
                  <a:gd name="connsiteY0" fmla="*/ 620202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288111 w 3347499"/>
                  <a:gd name="connsiteY9" fmla="*/ 620202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52007 h 1995778"/>
                  <a:gd name="connsiteX1" fmla="*/ 659958 w 3347499"/>
                  <a:gd name="connsiteY1" fmla="*/ 95416 h 1995778"/>
                  <a:gd name="connsiteX2" fmla="*/ 373711 w 3347499"/>
                  <a:gd name="connsiteY2" fmla="*/ 39757 h 1995778"/>
                  <a:gd name="connsiteX3" fmla="*/ 119270 w 3347499"/>
                  <a:gd name="connsiteY3" fmla="*/ 0 h 1995778"/>
                  <a:gd name="connsiteX4" fmla="*/ 111318 w 3347499"/>
                  <a:gd name="connsiteY4" fmla="*/ 151075 h 1995778"/>
                  <a:gd name="connsiteX5" fmla="*/ 0 w 3347499"/>
                  <a:gd name="connsiteY5" fmla="*/ 214686 h 1995778"/>
                  <a:gd name="connsiteX6" fmla="*/ 779228 w 3347499"/>
                  <a:gd name="connsiteY6" fmla="*/ 1264258 h 1995778"/>
                  <a:gd name="connsiteX7" fmla="*/ 1900362 w 3347499"/>
                  <a:gd name="connsiteY7" fmla="*/ 1995778 h 1995778"/>
                  <a:gd name="connsiteX8" fmla="*/ 3347499 w 3347499"/>
                  <a:gd name="connsiteY8" fmla="*/ 1653872 h 1995778"/>
                  <a:gd name="connsiteX9" fmla="*/ 1304013 w 3347499"/>
                  <a:gd name="connsiteY9" fmla="*/ 652007 h 1995778"/>
                  <a:gd name="connsiteX0" fmla="*/ 1304013 w 3347499"/>
                  <a:gd name="connsiteY0" fmla="*/ 635267 h 1979038"/>
                  <a:gd name="connsiteX1" fmla="*/ 659958 w 3347499"/>
                  <a:gd name="connsiteY1" fmla="*/ 78676 h 1979038"/>
                  <a:gd name="connsiteX2" fmla="*/ 373711 w 3347499"/>
                  <a:gd name="connsiteY2" fmla="*/ 23017 h 1979038"/>
                  <a:gd name="connsiteX3" fmla="*/ 95416 w 3347499"/>
                  <a:gd name="connsiteY3" fmla="*/ 38919 h 1979038"/>
                  <a:gd name="connsiteX4" fmla="*/ 111318 w 3347499"/>
                  <a:gd name="connsiteY4" fmla="*/ 134335 h 1979038"/>
                  <a:gd name="connsiteX5" fmla="*/ 0 w 3347499"/>
                  <a:gd name="connsiteY5" fmla="*/ 197946 h 1979038"/>
                  <a:gd name="connsiteX6" fmla="*/ 779228 w 3347499"/>
                  <a:gd name="connsiteY6" fmla="*/ 1247518 h 1979038"/>
                  <a:gd name="connsiteX7" fmla="*/ 1900362 w 3347499"/>
                  <a:gd name="connsiteY7" fmla="*/ 1979038 h 1979038"/>
                  <a:gd name="connsiteX8" fmla="*/ 3347499 w 3347499"/>
                  <a:gd name="connsiteY8" fmla="*/ 1637132 h 1979038"/>
                  <a:gd name="connsiteX9" fmla="*/ 1304013 w 3347499"/>
                  <a:gd name="connsiteY9" fmla="*/ 635267 h 1979038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11318 w 3347499"/>
                  <a:gd name="connsiteY4" fmla="*/ 153906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779228 w 3347499"/>
                  <a:gd name="connsiteY6" fmla="*/ 1267089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998609"/>
                  <a:gd name="connsiteX1" fmla="*/ 659958 w 3347499"/>
                  <a:gd name="connsiteY1" fmla="*/ 98247 h 1998609"/>
                  <a:gd name="connsiteX2" fmla="*/ 373711 w 3347499"/>
                  <a:gd name="connsiteY2" fmla="*/ 42588 h 1998609"/>
                  <a:gd name="connsiteX3" fmla="*/ 95416 w 3347499"/>
                  <a:gd name="connsiteY3" fmla="*/ 58490 h 1998609"/>
                  <a:gd name="connsiteX4" fmla="*/ 174928 w 3347499"/>
                  <a:gd name="connsiteY4" fmla="*/ 177759 h 1998609"/>
                  <a:gd name="connsiteX5" fmla="*/ 0 w 3347499"/>
                  <a:gd name="connsiteY5" fmla="*/ 217517 h 1998609"/>
                  <a:gd name="connsiteX6" fmla="*/ 811033 w 3347499"/>
                  <a:gd name="connsiteY6" fmla="*/ 1243235 h 1998609"/>
                  <a:gd name="connsiteX7" fmla="*/ 1900362 w 3347499"/>
                  <a:gd name="connsiteY7" fmla="*/ 1998609 h 1998609"/>
                  <a:gd name="connsiteX8" fmla="*/ 3347499 w 3347499"/>
                  <a:gd name="connsiteY8" fmla="*/ 1656703 h 1998609"/>
                  <a:gd name="connsiteX9" fmla="*/ 1304013 w 3347499"/>
                  <a:gd name="connsiteY9" fmla="*/ 654838 h 1998609"/>
                  <a:gd name="connsiteX0" fmla="*/ 1304013 w 3347499"/>
                  <a:gd name="connsiteY0" fmla="*/ 654838 h 1863437"/>
                  <a:gd name="connsiteX1" fmla="*/ 659958 w 3347499"/>
                  <a:gd name="connsiteY1" fmla="*/ 98247 h 1863437"/>
                  <a:gd name="connsiteX2" fmla="*/ 373711 w 3347499"/>
                  <a:gd name="connsiteY2" fmla="*/ 42588 h 1863437"/>
                  <a:gd name="connsiteX3" fmla="*/ 95416 w 3347499"/>
                  <a:gd name="connsiteY3" fmla="*/ 58490 h 1863437"/>
                  <a:gd name="connsiteX4" fmla="*/ 174928 w 3347499"/>
                  <a:gd name="connsiteY4" fmla="*/ 177759 h 1863437"/>
                  <a:gd name="connsiteX5" fmla="*/ 0 w 3347499"/>
                  <a:gd name="connsiteY5" fmla="*/ 217517 h 1863437"/>
                  <a:gd name="connsiteX6" fmla="*/ 811033 w 3347499"/>
                  <a:gd name="connsiteY6" fmla="*/ 1243235 h 1863437"/>
                  <a:gd name="connsiteX7" fmla="*/ 1924216 w 3347499"/>
                  <a:gd name="connsiteY7" fmla="*/ 1863437 h 1863437"/>
                  <a:gd name="connsiteX8" fmla="*/ 3347499 w 3347499"/>
                  <a:gd name="connsiteY8" fmla="*/ 1656703 h 1863437"/>
                  <a:gd name="connsiteX9" fmla="*/ 1304013 w 3347499"/>
                  <a:gd name="connsiteY9" fmla="*/ 654838 h 1863437"/>
                  <a:gd name="connsiteX0" fmla="*/ 1304013 w 3347499"/>
                  <a:gd name="connsiteY0" fmla="*/ 654838 h 1982707"/>
                  <a:gd name="connsiteX1" fmla="*/ 659958 w 3347499"/>
                  <a:gd name="connsiteY1" fmla="*/ 98247 h 1982707"/>
                  <a:gd name="connsiteX2" fmla="*/ 373711 w 3347499"/>
                  <a:gd name="connsiteY2" fmla="*/ 42588 h 1982707"/>
                  <a:gd name="connsiteX3" fmla="*/ 95416 w 3347499"/>
                  <a:gd name="connsiteY3" fmla="*/ 58490 h 1982707"/>
                  <a:gd name="connsiteX4" fmla="*/ 174928 w 3347499"/>
                  <a:gd name="connsiteY4" fmla="*/ 177759 h 1982707"/>
                  <a:gd name="connsiteX5" fmla="*/ 0 w 3347499"/>
                  <a:gd name="connsiteY5" fmla="*/ 217517 h 1982707"/>
                  <a:gd name="connsiteX6" fmla="*/ 811033 w 3347499"/>
                  <a:gd name="connsiteY6" fmla="*/ 1243235 h 1982707"/>
                  <a:gd name="connsiteX7" fmla="*/ 2146852 w 3347499"/>
                  <a:gd name="connsiteY7" fmla="*/ 1982707 h 1982707"/>
                  <a:gd name="connsiteX8" fmla="*/ 3347499 w 3347499"/>
                  <a:gd name="connsiteY8" fmla="*/ 1656703 h 1982707"/>
                  <a:gd name="connsiteX9" fmla="*/ 1304013 w 3347499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1304013 w 3387256"/>
                  <a:gd name="connsiteY9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26401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15616 w 3387256"/>
                  <a:gd name="connsiteY9" fmla="*/ 782060 h 1982707"/>
                  <a:gd name="connsiteX10" fmla="*/ 1304013 w 3387256"/>
                  <a:gd name="connsiteY10" fmla="*/ 654838 h 1982707"/>
                  <a:gd name="connsiteX0" fmla="*/ 1304013 w 3387256"/>
                  <a:gd name="connsiteY0" fmla="*/ 654838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304013 w 3387256"/>
                  <a:gd name="connsiteY10" fmla="*/ 654838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739470 w 3387256"/>
                  <a:gd name="connsiteY9" fmla="*/ 813865 h 1982707"/>
                  <a:gd name="connsiteX10" fmla="*/ 1272207 w 3387256"/>
                  <a:gd name="connsiteY10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387256"/>
                  <a:gd name="connsiteY0" fmla="*/ 630984 h 1982707"/>
                  <a:gd name="connsiteX1" fmla="*/ 659958 w 3387256"/>
                  <a:gd name="connsiteY1" fmla="*/ 98247 h 1982707"/>
                  <a:gd name="connsiteX2" fmla="*/ 373711 w 3387256"/>
                  <a:gd name="connsiteY2" fmla="*/ 42588 h 1982707"/>
                  <a:gd name="connsiteX3" fmla="*/ 95416 w 3387256"/>
                  <a:gd name="connsiteY3" fmla="*/ 58490 h 1982707"/>
                  <a:gd name="connsiteX4" fmla="*/ 174928 w 3387256"/>
                  <a:gd name="connsiteY4" fmla="*/ 177759 h 1982707"/>
                  <a:gd name="connsiteX5" fmla="*/ 0 w 3387256"/>
                  <a:gd name="connsiteY5" fmla="*/ 217517 h 1982707"/>
                  <a:gd name="connsiteX6" fmla="*/ 811033 w 3387256"/>
                  <a:gd name="connsiteY6" fmla="*/ 1243235 h 1982707"/>
                  <a:gd name="connsiteX7" fmla="*/ 2146852 w 3387256"/>
                  <a:gd name="connsiteY7" fmla="*/ 1982707 h 1982707"/>
                  <a:gd name="connsiteX8" fmla="*/ 3387256 w 3387256"/>
                  <a:gd name="connsiteY8" fmla="*/ 1648752 h 1982707"/>
                  <a:gd name="connsiteX9" fmla="*/ 2353585 w 3387256"/>
                  <a:gd name="connsiteY9" fmla="*/ 1267090 h 1982707"/>
                  <a:gd name="connsiteX10" fmla="*/ 739470 w 3387256"/>
                  <a:gd name="connsiteY10" fmla="*/ 813865 h 1982707"/>
                  <a:gd name="connsiteX11" fmla="*/ 1272207 w 338725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39470 w 3753016"/>
                  <a:gd name="connsiteY10" fmla="*/ 813865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53585 w 3753016"/>
                  <a:gd name="connsiteY9" fmla="*/ 1267090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385390 w 3753016"/>
                  <a:gd name="connsiteY9" fmla="*/ 1314798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1276 w 3753016"/>
                  <a:gd name="connsiteY10" fmla="*/ 861572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79227 w 3753016"/>
                  <a:gd name="connsiteY10" fmla="*/ 893377 h 1982707"/>
                  <a:gd name="connsiteX11" fmla="*/ 1272207 w 3753016"/>
                  <a:gd name="connsiteY11" fmla="*/ 630984 h 1982707"/>
                  <a:gd name="connsiteX0" fmla="*/ 1272207 w 3753016"/>
                  <a:gd name="connsiteY0" fmla="*/ 630984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72207 w 3753016"/>
                  <a:gd name="connsiteY11" fmla="*/ 630984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74928 w 3753016"/>
                  <a:gd name="connsiteY4" fmla="*/ 177759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659958 w 3753016"/>
                  <a:gd name="connsiteY1" fmla="*/ 98247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280159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280159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731519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2789 h 1982707"/>
                  <a:gd name="connsiteX1" fmla="*/ 699714 w 3753016"/>
                  <a:gd name="connsiteY1" fmla="*/ 90295 h 1982707"/>
                  <a:gd name="connsiteX2" fmla="*/ 373711 w 3753016"/>
                  <a:gd name="connsiteY2" fmla="*/ 42588 h 1982707"/>
                  <a:gd name="connsiteX3" fmla="*/ 95416 w 3753016"/>
                  <a:gd name="connsiteY3" fmla="*/ 58490 h 1982707"/>
                  <a:gd name="connsiteX4" fmla="*/ 119269 w 3753016"/>
                  <a:gd name="connsiteY4" fmla="*/ 169808 h 1982707"/>
                  <a:gd name="connsiteX5" fmla="*/ 0 w 3753016"/>
                  <a:gd name="connsiteY5" fmla="*/ 217517 h 1982707"/>
                  <a:gd name="connsiteX6" fmla="*/ 811033 w 3753016"/>
                  <a:gd name="connsiteY6" fmla="*/ 1243235 h 1982707"/>
                  <a:gd name="connsiteX7" fmla="*/ 2146852 w 3753016"/>
                  <a:gd name="connsiteY7" fmla="*/ 1982707 h 1982707"/>
                  <a:gd name="connsiteX8" fmla="*/ 3753016 w 3753016"/>
                  <a:gd name="connsiteY8" fmla="*/ 1497677 h 1982707"/>
                  <a:gd name="connsiteX9" fmla="*/ 2409244 w 3753016"/>
                  <a:gd name="connsiteY9" fmla="*/ 1290944 h 1982707"/>
                  <a:gd name="connsiteX10" fmla="*/ 755373 w 3753016"/>
                  <a:gd name="connsiteY10" fmla="*/ 869524 h 1982707"/>
                  <a:gd name="connsiteX11" fmla="*/ 1311965 w 3753016"/>
                  <a:gd name="connsiteY11" fmla="*/ 662789 h 1982707"/>
                  <a:gd name="connsiteX0" fmla="*/ 1311965 w 3753016"/>
                  <a:gd name="connsiteY0" fmla="*/ 665192 h 1985110"/>
                  <a:gd name="connsiteX1" fmla="*/ 699714 w 3753016"/>
                  <a:gd name="connsiteY1" fmla="*/ 92698 h 1985110"/>
                  <a:gd name="connsiteX2" fmla="*/ 397565 w 3753016"/>
                  <a:gd name="connsiteY2" fmla="*/ 37040 h 1985110"/>
                  <a:gd name="connsiteX3" fmla="*/ 95416 w 3753016"/>
                  <a:gd name="connsiteY3" fmla="*/ 60893 h 1985110"/>
                  <a:gd name="connsiteX4" fmla="*/ 119269 w 3753016"/>
                  <a:gd name="connsiteY4" fmla="*/ 172211 h 1985110"/>
                  <a:gd name="connsiteX5" fmla="*/ 0 w 3753016"/>
                  <a:gd name="connsiteY5" fmla="*/ 219920 h 1985110"/>
                  <a:gd name="connsiteX6" fmla="*/ 811033 w 3753016"/>
                  <a:gd name="connsiteY6" fmla="*/ 1245638 h 1985110"/>
                  <a:gd name="connsiteX7" fmla="*/ 2146852 w 3753016"/>
                  <a:gd name="connsiteY7" fmla="*/ 1985110 h 1985110"/>
                  <a:gd name="connsiteX8" fmla="*/ 3753016 w 3753016"/>
                  <a:gd name="connsiteY8" fmla="*/ 1500080 h 1985110"/>
                  <a:gd name="connsiteX9" fmla="*/ 2409244 w 3753016"/>
                  <a:gd name="connsiteY9" fmla="*/ 1293347 h 1985110"/>
                  <a:gd name="connsiteX10" fmla="*/ 755373 w 3753016"/>
                  <a:gd name="connsiteY10" fmla="*/ 871927 h 1985110"/>
                  <a:gd name="connsiteX11" fmla="*/ 1311965 w 3753016"/>
                  <a:gd name="connsiteY11" fmla="*/ 665192 h 1985110"/>
                  <a:gd name="connsiteX0" fmla="*/ 1311965 w 3753016"/>
                  <a:gd name="connsiteY0" fmla="*/ 670630 h 1990548"/>
                  <a:gd name="connsiteX1" fmla="*/ 699714 w 3753016"/>
                  <a:gd name="connsiteY1" fmla="*/ 98136 h 1990548"/>
                  <a:gd name="connsiteX2" fmla="*/ 453224 w 3753016"/>
                  <a:gd name="connsiteY2" fmla="*/ 26576 h 1990548"/>
                  <a:gd name="connsiteX3" fmla="*/ 95416 w 3753016"/>
                  <a:gd name="connsiteY3" fmla="*/ 66331 h 1990548"/>
                  <a:gd name="connsiteX4" fmla="*/ 119269 w 3753016"/>
                  <a:gd name="connsiteY4" fmla="*/ 177649 h 1990548"/>
                  <a:gd name="connsiteX5" fmla="*/ 0 w 3753016"/>
                  <a:gd name="connsiteY5" fmla="*/ 225358 h 1990548"/>
                  <a:gd name="connsiteX6" fmla="*/ 811033 w 3753016"/>
                  <a:gd name="connsiteY6" fmla="*/ 1251076 h 1990548"/>
                  <a:gd name="connsiteX7" fmla="*/ 2146852 w 3753016"/>
                  <a:gd name="connsiteY7" fmla="*/ 1990548 h 1990548"/>
                  <a:gd name="connsiteX8" fmla="*/ 3753016 w 3753016"/>
                  <a:gd name="connsiteY8" fmla="*/ 1505518 h 1990548"/>
                  <a:gd name="connsiteX9" fmla="*/ 2409244 w 3753016"/>
                  <a:gd name="connsiteY9" fmla="*/ 1298785 h 1990548"/>
                  <a:gd name="connsiteX10" fmla="*/ 755373 w 3753016"/>
                  <a:gd name="connsiteY10" fmla="*/ 877365 h 1990548"/>
                  <a:gd name="connsiteX11" fmla="*/ 1311965 w 3753016"/>
                  <a:gd name="connsiteY11" fmla="*/ 670630 h 1990548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95416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19269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78748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0 w 3753016"/>
                  <a:gd name="connsiteY4" fmla="*/ 226457 h 1991647"/>
                  <a:gd name="connsiteX5" fmla="*/ 811033 w 3753016"/>
                  <a:gd name="connsiteY5" fmla="*/ 1252175 h 1991647"/>
                  <a:gd name="connsiteX6" fmla="*/ 2146852 w 3753016"/>
                  <a:gd name="connsiteY6" fmla="*/ 1991647 h 1991647"/>
                  <a:gd name="connsiteX7" fmla="*/ 3753016 w 3753016"/>
                  <a:gd name="connsiteY7" fmla="*/ 1506617 h 1991647"/>
                  <a:gd name="connsiteX8" fmla="*/ 2409244 w 3753016"/>
                  <a:gd name="connsiteY8" fmla="*/ 1299884 h 1991647"/>
                  <a:gd name="connsiteX9" fmla="*/ 755373 w 3753016"/>
                  <a:gd name="connsiteY9" fmla="*/ 878464 h 1991647"/>
                  <a:gd name="connsiteX10" fmla="*/ 1311965 w 3753016"/>
                  <a:gd name="connsiteY10" fmla="*/ 671729 h 1991647"/>
                  <a:gd name="connsiteX0" fmla="*/ 1337304 w 3778355"/>
                  <a:gd name="connsiteY0" fmla="*/ 671729 h 1991647"/>
                  <a:gd name="connsiteX1" fmla="*/ 725053 w 3778355"/>
                  <a:gd name="connsiteY1" fmla="*/ 99235 h 1991647"/>
                  <a:gd name="connsiteX2" fmla="*/ 478563 w 3778355"/>
                  <a:gd name="connsiteY2" fmla="*/ 27675 h 1991647"/>
                  <a:gd name="connsiteX3" fmla="*/ 152560 w 3778355"/>
                  <a:gd name="connsiteY3" fmla="*/ 67430 h 1991647"/>
                  <a:gd name="connsiteX4" fmla="*/ 232072 w 3778355"/>
                  <a:gd name="connsiteY4" fmla="*/ 186702 h 1991647"/>
                  <a:gd name="connsiteX5" fmla="*/ 25339 w 3778355"/>
                  <a:gd name="connsiteY5" fmla="*/ 226457 h 1991647"/>
                  <a:gd name="connsiteX6" fmla="*/ 836372 w 3778355"/>
                  <a:gd name="connsiteY6" fmla="*/ 1252175 h 1991647"/>
                  <a:gd name="connsiteX7" fmla="*/ 2172191 w 3778355"/>
                  <a:gd name="connsiteY7" fmla="*/ 1991647 h 1991647"/>
                  <a:gd name="connsiteX8" fmla="*/ 3778355 w 3778355"/>
                  <a:gd name="connsiteY8" fmla="*/ 1506617 h 1991647"/>
                  <a:gd name="connsiteX9" fmla="*/ 2434583 w 3778355"/>
                  <a:gd name="connsiteY9" fmla="*/ 1299884 h 1991647"/>
                  <a:gd name="connsiteX10" fmla="*/ 780712 w 3778355"/>
                  <a:gd name="connsiteY10" fmla="*/ 878464 h 1991647"/>
                  <a:gd name="connsiteX11" fmla="*/ 1337304 w 3778355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206733 w 3753016"/>
                  <a:gd name="connsiteY4" fmla="*/ 186702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1033 w 3753016"/>
                  <a:gd name="connsiteY6" fmla="*/ 1252175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91647"/>
                  <a:gd name="connsiteX1" fmla="*/ 699714 w 3753016"/>
                  <a:gd name="connsiteY1" fmla="*/ 99235 h 1991647"/>
                  <a:gd name="connsiteX2" fmla="*/ 453224 w 3753016"/>
                  <a:gd name="connsiteY2" fmla="*/ 27675 h 1991647"/>
                  <a:gd name="connsiteX3" fmla="*/ 127221 w 3753016"/>
                  <a:gd name="connsiteY3" fmla="*/ 67430 h 1991647"/>
                  <a:gd name="connsiteX4" fmla="*/ 166977 w 3753016"/>
                  <a:gd name="connsiteY4" fmla="*/ 154897 h 1991647"/>
                  <a:gd name="connsiteX5" fmla="*/ 0 w 3753016"/>
                  <a:gd name="connsiteY5" fmla="*/ 226457 h 1991647"/>
                  <a:gd name="connsiteX6" fmla="*/ 818984 w 3753016"/>
                  <a:gd name="connsiteY6" fmla="*/ 1347591 h 1991647"/>
                  <a:gd name="connsiteX7" fmla="*/ 2146852 w 3753016"/>
                  <a:gd name="connsiteY7" fmla="*/ 1991647 h 1991647"/>
                  <a:gd name="connsiteX8" fmla="*/ 3753016 w 3753016"/>
                  <a:gd name="connsiteY8" fmla="*/ 1506617 h 1991647"/>
                  <a:gd name="connsiteX9" fmla="*/ 2409244 w 3753016"/>
                  <a:gd name="connsiteY9" fmla="*/ 1299884 h 1991647"/>
                  <a:gd name="connsiteX10" fmla="*/ 755373 w 3753016"/>
                  <a:gd name="connsiteY10" fmla="*/ 878464 h 1991647"/>
                  <a:gd name="connsiteX11" fmla="*/ 1311965 w 3753016"/>
                  <a:gd name="connsiteY11" fmla="*/ 671729 h 199164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8037"/>
                  <a:gd name="connsiteX1" fmla="*/ 699714 w 3753016"/>
                  <a:gd name="connsiteY1" fmla="*/ 99235 h 1928037"/>
                  <a:gd name="connsiteX2" fmla="*/ 453224 w 3753016"/>
                  <a:gd name="connsiteY2" fmla="*/ 27675 h 1928037"/>
                  <a:gd name="connsiteX3" fmla="*/ 127221 w 3753016"/>
                  <a:gd name="connsiteY3" fmla="*/ 67430 h 1928037"/>
                  <a:gd name="connsiteX4" fmla="*/ 166977 w 3753016"/>
                  <a:gd name="connsiteY4" fmla="*/ 154897 h 1928037"/>
                  <a:gd name="connsiteX5" fmla="*/ 0 w 3753016"/>
                  <a:gd name="connsiteY5" fmla="*/ 226457 h 1928037"/>
                  <a:gd name="connsiteX6" fmla="*/ 818984 w 3753016"/>
                  <a:gd name="connsiteY6" fmla="*/ 1347591 h 1928037"/>
                  <a:gd name="connsiteX7" fmla="*/ 2011680 w 3753016"/>
                  <a:gd name="connsiteY7" fmla="*/ 1928037 h 1928037"/>
                  <a:gd name="connsiteX8" fmla="*/ 3753016 w 3753016"/>
                  <a:gd name="connsiteY8" fmla="*/ 1506617 h 1928037"/>
                  <a:gd name="connsiteX9" fmla="*/ 2409244 w 3753016"/>
                  <a:gd name="connsiteY9" fmla="*/ 1299884 h 1928037"/>
                  <a:gd name="connsiteX10" fmla="*/ 755373 w 3753016"/>
                  <a:gd name="connsiteY10" fmla="*/ 878464 h 1928037"/>
                  <a:gd name="connsiteX11" fmla="*/ 1311965 w 3753016"/>
                  <a:gd name="connsiteY11" fmla="*/ 671729 h 1928037"/>
                  <a:gd name="connsiteX0" fmla="*/ 1311965 w 3753016"/>
                  <a:gd name="connsiteY0" fmla="*/ 671729 h 1929647"/>
                  <a:gd name="connsiteX1" fmla="*/ 699714 w 3753016"/>
                  <a:gd name="connsiteY1" fmla="*/ 99235 h 1929647"/>
                  <a:gd name="connsiteX2" fmla="*/ 453224 w 3753016"/>
                  <a:gd name="connsiteY2" fmla="*/ 27675 h 1929647"/>
                  <a:gd name="connsiteX3" fmla="*/ 127221 w 3753016"/>
                  <a:gd name="connsiteY3" fmla="*/ 67430 h 1929647"/>
                  <a:gd name="connsiteX4" fmla="*/ 166977 w 3753016"/>
                  <a:gd name="connsiteY4" fmla="*/ 154897 h 1929647"/>
                  <a:gd name="connsiteX5" fmla="*/ 0 w 3753016"/>
                  <a:gd name="connsiteY5" fmla="*/ 226457 h 1929647"/>
                  <a:gd name="connsiteX6" fmla="*/ 818984 w 3753016"/>
                  <a:gd name="connsiteY6" fmla="*/ 1347591 h 1929647"/>
                  <a:gd name="connsiteX7" fmla="*/ 2011680 w 3753016"/>
                  <a:gd name="connsiteY7" fmla="*/ 1928037 h 1929647"/>
                  <a:gd name="connsiteX8" fmla="*/ 3753016 w 3753016"/>
                  <a:gd name="connsiteY8" fmla="*/ 1506617 h 1929647"/>
                  <a:gd name="connsiteX9" fmla="*/ 2409244 w 3753016"/>
                  <a:gd name="connsiteY9" fmla="*/ 1299884 h 1929647"/>
                  <a:gd name="connsiteX10" fmla="*/ 755373 w 3753016"/>
                  <a:gd name="connsiteY10" fmla="*/ 878464 h 1929647"/>
                  <a:gd name="connsiteX11" fmla="*/ 1311965 w 3753016"/>
                  <a:gd name="connsiteY11" fmla="*/ 671729 h 19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753016" h="1929647">
                    <a:moveTo>
                      <a:pt x="1311965" y="671729"/>
                    </a:moveTo>
                    <a:cubicBezTo>
                      <a:pt x="1166191" y="480897"/>
                      <a:pt x="893195" y="-35936"/>
                      <a:pt x="699714" y="99235"/>
                    </a:cubicBezTo>
                    <a:cubicBezTo>
                      <a:pt x="667909" y="136342"/>
                      <a:pt x="636104" y="-73042"/>
                      <a:pt x="453224" y="27675"/>
                    </a:cubicBezTo>
                    <a:cubicBezTo>
                      <a:pt x="360459" y="32976"/>
                      <a:pt x="331304" y="-57141"/>
                      <a:pt x="127221" y="67430"/>
                    </a:cubicBezTo>
                    <a:cubicBezTo>
                      <a:pt x="74212" y="88634"/>
                      <a:pt x="188181" y="128392"/>
                      <a:pt x="166977" y="154897"/>
                    </a:cubicBezTo>
                    <a:cubicBezTo>
                      <a:pt x="145773" y="181402"/>
                      <a:pt x="70236" y="131041"/>
                      <a:pt x="0" y="226457"/>
                    </a:cubicBezTo>
                    <a:cubicBezTo>
                      <a:pt x="272995" y="600168"/>
                      <a:pt x="673210" y="1283981"/>
                      <a:pt x="818984" y="1347591"/>
                    </a:cubicBezTo>
                    <a:cubicBezTo>
                      <a:pt x="1216549" y="1541073"/>
                      <a:pt x="1741336" y="1885630"/>
                      <a:pt x="2011680" y="1928037"/>
                    </a:cubicBezTo>
                    <a:cubicBezTo>
                      <a:pt x="2266121" y="1954542"/>
                      <a:pt x="3172571" y="1647090"/>
                      <a:pt x="3753016" y="1506617"/>
                    </a:cubicBezTo>
                    <a:cubicBezTo>
                      <a:pt x="3697357" y="1407226"/>
                      <a:pt x="3208351" y="1168688"/>
                      <a:pt x="2409244" y="1299884"/>
                    </a:cubicBezTo>
                    <a:cubicBezTo>
                      <a:pt x="489003" y="1295909"/>
                      <a:pt x="734169" y="972555"/>
                      <a:pt x="755373" y="878464"/>
                    </a:cubicBezTo>
                    <a:cubicBezTo>
                      <a:pt x="816333" y="727390"/>
                      <a:pt x="1115833" y="695583"/>
                      <a:pt x="1311965" y="671729"/>
                    </a:cubicBezTo>
                    <a:close/>
                  </a:path>
                </a:pathLst>
              </a:custGeom>
              <a:noFill/>
              <a:ln>
                <a:solidFill>
                  <a:srgbClr val="8877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/>
              </a:p>
            </p:txBody>
          </p:sp>
        </p:grpSp>
        <p:sp>
          <p:nvSpPr>
            <p:cNvPr id="24" name="직사각형 85">
              <a:extLst>
                <a:ext uri="{FF2B5EF4-FFF2-40B4-BE49-F238E27FC236}">
                  <a16:creationId xmlns:a16="http://schemas.microsoft.com/office/drawing/2014/main" id="{CCCDD4CE-E020-4C6F-90D9-A7060B5AC631}"/>
                </a:ext>
              </a:extLst>
            </p:cNvPr>
            <p:cNvSpPr/>
            <p:nvPr/>
          </p:nvSpPr>
          <p:spPr>
            <a:xfrm rot="18740140">
              <a:off x="9227087" y="4744160"/>
              <a:ext cx="357080" cy="886408"/>
            </a:xfrm>
            <a:prstGeom prst="rect">
              <a:avLst/>
            </a:prstGeom>
            <a:grpFill/>
            <a:ln>
              <a:solidFill>
                <a:srgbClr val="88773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dirty="0"/>
            </a:p>
          </p:txBody>
        </p:sp>
        <p:sp>
          <p:nvSpPr>
            <p:cNvPr id="25" name="Oval 21">
              <a:extLst>
                <a:ext uri="{FF2B5EF4-FFF2-40B4-BE49-F238E27FC236}">
                  <a16:creationId xmlns:a16="http://schemas.microsoft.com/office/drawing/2014/main" id="{A62EB40D-31D8-468A-8F9F-F6C1C0A4E1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845482" y="3511245"/>
              <a:ext cx="1132480" cy="1141938"/>
            </a:xfrm>
            <a:custGeom>
              <a:avLst/>
              <a:gdLst/>
              <a:ahLst/>
              <a:cxnLst/>
              <a:rect l="l" t="t" r="r" b="b"/>
              <a:pathLst>
                <a:path w="1652142" h="1665940">
                  <a:moveTo>
                    <a:pt x="898689" y="548008"/>
                  </a:moveTo>
                  <a:cubicBezTo>
                    <a:pt x="737950" y="504938"/>
                    <a:pt x="572731" y="600328"/>
                    <a:pt x="529661" y="761066"/>
                  </a:cubicBezTo>
                  <a:cubicBezTo>
                    <a:pt x="486591" y="921805"/>
                    <a:pt x="581980" y="1087025"/>
                    <a:pt x="742719" y="1130094"/>
                  </a:cubicBezTo>
                  <a:cubicBezTo>
                    <a:pt x="903458" y="1173164"/>
                    <a:pt x="1068677" y="1077775"/>
                    <a:pt x="1111747" y="917036"/>
                  </a:cubicBezTo>
                  <a:cubicBezTo>
                    <a:pt x="1154817" y="756297"/>
                    <a:pt x="1059428" y="591077"/>
                    <a:pt x="898689" y="548008"/>
                  </a:cubicBezTo>
                  <a:close/>
                  <a:moveTo>
                    <a:pt x="952303" y="347916"/>
                  </a:moveTo>
                  <a:cubicBezTo>
                    <a:pt x="1223549" y="420596"/>
                    <a:pt x="1384519" y="699404"/>
                    <a:pt x="1311839" y="970650"/>
                  </a:cubicBezTo>
                  <a:cubicBezTo>
                    <a:pt x="1239159" y="1241896"/>
                    <a:pt x="960351" y="1402866"/>
                    <a:pt x="689105" y="1330186"/>
                  </a:cubicBezTo>
                  <a:cubicBezTo>
                    <a:pt x="417859" y="1257506"/>
                    <a:pt x="256889" y="978698"/>
                    <a:pt x="329569" y="707451"/>
                  </a:cubicBezTo>
                  <a:cubicBezTo>
                    <a:pt x="402249" y="436205"/>
                    <a:pt x="681057" y="275235"/>
                    <a:pt x="952303" y="347916"/>
                  </a:cubicBezTo>
                  <a:close/>
                  <a:moveTo>
                    <a:pt x="971799" y="275155"/>
                  </a:moveTo>
                  <a:cubicBezTo>
                    <a:pt x="660368" y="191707"/>
                    <a:pt x="340256" y="376524"/>
                    <a:pt x="256808" y="687955"/>
                  </a:cubicBezTo>
                  <a:cubicBezTo>
                    <a:pt x="173361" y="999387"/>
                    <a:pt x="358178" y="1319499"/>
                    <a:pt x="669609" y="1402947"/>
                  </a:cubicBezTo>
                  <a:cubicBezTo>
                    <a:pt x="981040" y="1486395"/>
                    <a:pt x="1301152" y="1301577"/>
                    <a:pt x="1384600" y="990146"/>
                  </a:cubicBezTo>
                  <a:cubicBezTo>
                    <a:pt x="1468047" y="678715"/>
                    <a:pt x="1283230" y="358603"/>
                    <a:pt x="971799" y="275155"/>
                  </a:cubicBezTo>
                  <a:close/>
                  <a:moveTo>
                    <a:pt x="1652142" y="394531"/>
                  </a:moveTo>
                  <a:lnTo>
                    <a:pt x="1649662" y="403784"/>
                  </a:lnTo>
                  <a:lnTo>
                    <a:pt x="1647140" y="399895"/>
                  </a:lnTo>
                  <a:close/>
                  <a:moveTo>
                    <a:pt x="1158157" y="65026"/>
                  </a:moveTo>
                  <a:lnTo>
                    <a:pt x="1154679" y="271718"/>
                  </a:lnTo>
                  <a:lnTo>
                    <a:pt x="1148331" y="270017"/>
                  </a:lnTo>
                  <a:cubicBezTo>
                    <a:pt x="1200055" y="299127"/>
                    <a:pt x="1246804" y="334821"/>
                    <a:pt x="1286346" y="377149"/>
                  </a:cubicBezTo>
                  <a:lnTo>
                    <a:pt x="1470353" y="331395"/>
                  </a:lnTo>
                  <a:lnTo>
                    <a:pt x="1588305" y="553229"/>
                  </a:lnTo>
                  <a:lnTo>
                    <a:pt x="1457194" y="671432"/>
                  </a:lnTo>
                  <a:cubicBezTo>
                    <a:pt x="1473630" y="731297"/>
                    <a:pt x="1481376" y="793983"/>
                    <a:pt x="1478595" y="857704"/>
                  </a:cubicBezTo>
                  <a:lnTo>
                    <a:pt x="1642362" y="948616"/>
                  </a:lnTo>
                  <a:lnTo>
                    <a:pt x="1577335" y="1191298"/>
                  </a:lnTo>
                  <a:lnTo>
                    <a:pt x="1378614" y="1187955"/>
                  </a:lnTo>
                  <a:cubicBezTo>
                    <a:pt x="1353489" y="1229936"/>
                    <a:pt x="1323048" y="1267799"/>
                    <a:pt x="1288939" y="1301599"/>
                  </a:cubicBezTo>
                  <a:lnTo>
                    <a:pt x="1354201" y="1471932"/>
                  </a:lnTo>
                  <a:lnTo>
                    <a:pt x="1148396" y="1616039"/>
                  </a:lnTo>
                  <a:lnTo>
                    <a:pt x="992294" y="1480516"/>
                  </a:lnTo>
                  <a:lnTo>
                    <a:pt x="1011291" y="1467215"/>
                  </a:lnTo>
                  <a:cubicBezTo>
                    <a:pt x="951500" y="1486565"/>
                    <a:pt x="888271" y="1495869"/>
                    <a:pt x="823805" y="1495510"/>
                  </a:cubicBezTo>
                  <a:lnTo>
                    <a:pt x="729193" y="1665940"/>
                  </a:lnTo>
                  <a:lnTo>
                    <a:pt x="486511" y="1600914"/>
                  </a:lnTo>
                  <a:lnTo>
                    <a:pt x="489790" y="1406012"/>
                  </a:lnTo>
                  <a:cubicBezTo>
                    <a:pt x="438364" y="1376702"/>
                    <a:pt x="391917" y="1340859"/>
                    <a:pt x="352658" y="1298452"/>
                  </a:cubicBezTo>
                  <a:lnTo>
                    <a:pt x="355803" y="1305197"/>
                  </a:lnTo>
                  <a:lnTo>
                    <a:pt x="152856" y="1344512"/>
                  </a:lnTo>
                  <a:lnTo>
                    <a:pt x="46675" y="1116809"/>
                  </a:lnTo>
                  <a:lnTo>
                    <a:pt x="183929" y="1005520"/>
                  </a:lnTo>
                  <a:cubicBezTo>
                    <a:pt x="169279" y="951824"/>
                    <a:pt x="161626" y="895865"/>
                    <a:pt x="161615" y="838915"/>
                  </a:cubicBezTo>
                  <a:lnTo>
                    <a:pt x="0" y="749197"/>
                  </a:lnTo>
                  <a:lnTo>
                    <a:pt x="65026" y="506515"/>
                  </a:lnTo>
                  <a:lnTo>
                    <a:pt x="250227" y="509630"/>
                  </a:lnTo>
                  <a:cubicBezTo>
                    <a:pt x="275353" y="465291"/>
                    <a:pt x="305693" y="424864"/>
                    <a:pt x="340015" y="388679"/>
                  </a:cubicBezTo>
                  <a:lnTo>
                    <a:pt x="277984" y="197357"/>
                  </a:lnTo>
                  <a:lnTo>
                    <a:pt x="491050" y="64219"/>
                  </a:lnTo>
                  <a:lnTo>
                    <a:pt x="639843" y="207726"/>
                  </a:lnTo>
                  <a:lnTo>
                    <a:pt x="638348" y="208660"/>
                  </a:lnTo>
                  <a:cubicBezTo>
                    <a:pt x="696840" y="190256"/>
                    <a:pt x="758594" y="181748"/>
                    <a:pt x="821488" y="182440"/>
                  </a:cubicBezTo>
                  <a:lnTo>
                    <a:pt x="815140" y="180739"/>
                  </a:lnTo>
                  <a:lnTo>
                    <a:pt x="915476" y="0"/>
                  </a:lnTo>
                  <a:close/>
                </a:path>
              </a:pathLst>
            </a:custGeom>
            <a:grpFill/>
            <a:ln>
              <a:solidFill>
                <a:srgbClr val="88773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2700"/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4AC9BA3-B819-4BB9-8F52-AB129D3091FB}"/>
              </a:ext>
            </a:extLst>
          </p:cNvPr>
          <p:cNvCxnSpPr>
            <a:cxnSpLocks/>
          </p:cNvCxnSpPr>
          <p:nvPr/>
        </p:nvCxnSpPr>
        <p:spPr>
          <a:xfrm>
            <a:off x="9861849" y="5854048"/>
            <a:ext cx="0" cy="861923"/>
          </a:xfrm>
          <a:prstGeom prst="line">
            <a:avLst/>
          </a:prstGeom>
          <a:ln w="19050">
            <a:solidFill>
              <a:srgbClr val="88773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p18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  <p:sp>
        <p:nvSpPr>
          <p:cNvPr id="385" name="Google Shape;385;p18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387" name="Google Shape;387;p18"/>
          <p:cNvSpPr txBox="1"/>
          <p:nvPr/>
        </p:nvSpPr>
        <p:spPr>
          <a:xfrm>
            <a:off x="278563" y="278283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SzPts val="1400"/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  <a:lvl2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2pPr>
            <a:lvl3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3pPr>
            <a:lvl4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4pPr>
            <a:lvl5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5pPr>
            <a:lvl6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6pPr>
            <a:lvl7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7pPr>
            <a:lvl8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8pPr>
            <a:lvl9pPr algn="ctr">
              <a:buSzPts val="1400"/>
              <a:buNone/>
              <a:defRPr sz="3300">
                <a:solidFill>
                  <a:schemeClr val="dk1"/>
                </a:solidFill>
                <a:latin typeface="Calibri"/>
                <a:ea typeface="Calibri"/>
                <a:cs typeface="Calibri"/>
              </a:defRPr>
            </a:lvl9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 MAJOR ACTIVITIES OF AZPROMO 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85B37C-089C-4766-B5CB-FB58B4984D0D}"/>
              </a:ext>
            </a:extLst>
          </p:cNvPr>
          <p:cNvSpPr txBox="1"/>
          <p:nvPr/>
        </p:nvSpPr>
        <p:spPr>
          <a:xfrm>
            <a:off x="7581381" y="1522868"/>
            <a:ext cx="3630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 FIELD OF INVESTMENT</a:t>
            </a:r>
          </a:p>
        </p:txBody>
      </p:sp>
      <p:sp>
        <p:nvSpPr>
          <p:cNvPr id="17" name="Google Shape;224;p9">
            <a:extLst>
              <a:ext uri="{FF2B5EF4-FFF2-40B4-BE49-F238E27FC236}">
                <a16:creationId xmlns:a16="http://schemas.microsoft.com/office/drawing/2014/main" id="{22CE1623-9D42-451D-A929-612A9DC4C568}"/>
              </a:ext>
            </a:extLst>
          </p:cNvPr>
          <p:cNvSpPr/>
          <p:nvPr/>
        </p:nvSpPr>
        <p:spPr>
          <a:xfrm>
            <a:off x="7499455" y="1910754"/>
            <a:ext cx="4018051" cy="3077725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Calibri"/>
              <a:buChar char="•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TTRACTION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RETENTION </a:t>
            </a:r>
            <a:r>
              <a:rPr lang="az-Latn-AZ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nd </a:t>
            </a: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EXP</a:t>
            </a:r>
            <a:r>
              <a:rPr lang="az-Latn-AZ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</a:t>
            </a: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SION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FTERCARE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OLICY ADVOCACY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OUNTRY’S IMAGE BUILDING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Calibri"/>
              <a:buChar char="•"/>
            </a:pP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BFB04E-4447-48BF-9B45-AA128653A43D}"/>
              </a:ext>
            </a:extLst>
          </p:cNvPr>
          <p:cNvSpPr txBox="1"/>
          <p:nvPr/>
        </p:nvSpPr>
        <p:spPr>
          <a:xfrm>
            <a:off x="324900" y="1961615"/>
            <a:ext cx="4520990" cy="3693319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wrap="square">
            <a:spAutoFit/>
          </a:bodyPr>
          <a:lstStyle/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Calibri"/>
              <a:buChar char="•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N-OIL EXPORT PROMOTION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ROMOTION OF “MADE IN AZERBAIJAN” BRAND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UPPORT TO EXPORTERS</a:t>
            </a: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BUILDING AND PROMOTING EXPORT CULTURE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Tx/>
              <a:buSzPct val="80000"/>
              <a:buFont typeface="Calibri"/>
              <a:buChar char="•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OLICY ADVOCACY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28600" marR="0" lvl="0" indent="-228600" algn="l" rtl="0"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Calibri"/>
              <a:buChar char="•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</p:txBody>
      </p:sp>
      <p:cxnSp>
        <p:nvCxnSpPr>
          <p:cNvPr id="15" name="Google Shape;95;p4">
            <a:extLst>
              <a:ext uri="{FF2B5EF4-FFF2-40B4-BE49-F238E27FC236}">
                <a16:creationId xmlns:a16="http://schemas.microsoft.com/office/drawing/2014/main" id="{632974CF-8B04-4CDD-862B-38B58CC83EDB}"/>
              </a:ext>
            </a:extLst>
          </p:cNvPr>
          <p:cNvCxnSpPr>
            <a:cxnSpLocks/>
          </p:cNvCxnSpPr>
          <p:nvPr/>
        </p:nvCxnSpPr>
        <p:spPr>
          <a:xfrm flipV="1">
            <a:off x="532002" y="1967056"/>
            <a:ext cx="3015870" cy="1225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18" name="Google Shape;95;p4">
            <a:extLst>
              <a:ext uri="{FF2B5EF4-FFF2-40B4-BE49-F238E27FC236}">
                <a16:creationId xmlns:a16="http://schemas.microsoft.com/office/drawing/2014/main" id="{3D391408-8F4A-4FB0-B083-706EE70166F5}"/>
              </a:ext>
            </a:extLst>
          </p:cNvPr>
          <p:cNvCxnSpPr>
            <a:cxnSpLocks/>
          </p:cNvCxnSpPr>
          <p:nvPr/>
        </p:nvCxnSpPr>
        <p:spPr>
          <a:xfrm>
            <a:off x="7707514" y="1909529"/>
            <a:ext cx="3377902" cy="0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6" name="Graphic 15" descr="Lightbulb and gear with solid fill">
            <a:extLst>
              <a:ext uri="{FF2B5EF4-FFF2-40B4-BE49-F238E27FC236}">
                <a16:creationId xmlns:a16="http://schemas.microsoft.com/office/drawing/2014/main" id="{9DF412B0-94ED-43C4-AA8D-B4FB5DAAD6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1244" y="4333436"/>
            <a:ext cx="2282857" cy="228285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89E0C59-F65C-5D44-9CB2-02D08D1C0939}"/>
              </a:ext>
            </a:extLst>
          </p:cNvPr>
          <p:cNvSpPr txBox="1"/>
          <p:nvPr/>
        </p:nvSpPr>
        <p:spPr>
          <a:xfrm>
            <a:off x="352371" y="1558785"/>
            <a:ext cx="33751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 FIELD OF EXPORT</a:t>
            </a:r>
          </a:p>
        </p:txBody>
      </p:sp>
    </p:spTree>
    <p:extLst>
      <p:ext uri="{BB962C8B-B14F-4D97-AF65-F5344CB8AC3E}">
        <p14:creationId xmlns:p14="http://schemas.microsoft.com/office/powerpoint/2010/main" val="19425760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Google Shape;409;p20"/>
          <p:cNvSpPr/>
          <p:nvPr/>
        </p:nvSpPr>
        <p:spPr>
          <a:xfrm>
            <a:off x="549465" y="4263497"/>
            <a:ext cx="3014350" cy="151598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0" name="Google Shape;410;p20"/>
          <p:cNvSpPr txBox="1">
            <a:spLocks noGrp="1"/>
          </p:cNvSpPr>
          <p:nvPr>
            <p:ph type="title"/>
          </p:nvPr>
        </p:nvSpPr>
        <p:spPr>
          <a:xfrm>
            <a:off x="802640" y="3037681"/>
            <a:ext cx="10586720" cy="552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THANK YOU!</a:t>
            </a:r>
            <a:endParaRPr sz="2400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411" name="Google Shape;411;p20"/>
          <p:cNvSpPr txBox="1"/>
          <p:nvPr/>
        </p:nvSpPr>
        <p:spPr>
          <a:xfrm>
            <a:off x="691662" y="4579148"/>
            <a:ext cx="3297698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AZ1000, Azerbaijan, Baku,</a:t>
            </a:r>
            <a:endParaRPr sz="1200">
              <a:solidFill>
                <a:srgbClr val="606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32 Neftchilar avenue, (Baku Business Center)</a:t>
            </a:r>
            <a:endParaRPr sz="1200">
              <a:solidFill>
                <a:srgbClr val="60606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Tel.: (+994 12) 598 01 47/48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Fax.: (+994 12) 598 01 52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E-mail: office@azpromo.az 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rgbClr val="606060"/>
                </a:solidFill>
                <a:latin typeface="Arial"/>
                <a:ea typeface="Arial"/>
                <a:cs typeface="Arial"/>
                <a:sym typeface="Arial"/>
              </a:rPr>
              <a:t>www.azpromo.az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  <p:sp>
        <p:nvSpPr>
          <p:cNvPr id="42" name="Google Shape;42;p2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44" name="Google Shape;44;p2"/>
          <p:cNvSpPr txBox="1"/>
          <p:nvPr/>
        </p:nvSpPr>
        <p:spPr>
          <a:xfrm>
            <a:off x="306547" y="301398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887735"/>
                </a:solidFill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STATE OF ECONOMY – 2021</a:t>
            </a:r>
            <a:endParaRPr sz="2000" b="1" dirty="0">
              <a:solidFill>
                <a:srgbClr val="887735"/>
              </a:solidFill>
              <a:latin typeface="Segoe UI" panose="020B0502040204020203" pitchFamily="34" charset="0"/>
              <a:cs typeface="Segoe UI" panose="020B0502040204020203" pitchFamily="34" charset="0"/>
              <a:sym typeface="Quattrocento Sans"/>
            </a:endParaRPr>
          </a:p>
        </p:txBody>
      </p:sp>
      <p:pic>
        <p:nvPicPr>
          <p:cNvPr id="45" name="Google Shape;45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4036" y="1186011"/>
            <a:ext cx="801391" cy="801391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7" name="Google Shape;47;p2"/>
          <p:cNvSpPr/>
          <p:nvPr/>
        </p:nvSpPr>
        <p:spPr>
          <a:xfrm>
            <a:off x="1398504" y="1377788"/>
            <a:ext cx="3118905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az-Latn-AZ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r>
              <a:rPr lang="en-US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,</a:t>
            </a:r>
            <a:r>
              <a:rPr lang="az-Latn-AZ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452</a:t>
            </a:r>
            <a:r>
              <a:rPr lang="en-US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.</a:t>
            </a:r>
            <a:r>
              <a:rPr lang="az-Latn-AZ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53</a:t>
            </a:r>
            <a:r>
              <a:rPr lang="en-US" sz="1800" b="1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 b="1" i="0" u="none" strike="noStrike" cap="none" dirty="0">
                <a:solidFill>
                  <a:srgbClr val="538CD5"/>
                </a:solidFill>
                <a:latin typeface="Calibri"/>
                <a:ea typeface="Calibri"/>
                <a:cs typeface="Calibri"/>
                <a:sym typeface="Calibri"/>
              </a:rPr>
              <a:t>USD GDP PER CAPITA</a:t>
            </a:r>
            <a:endParaRPr sz="1800" b="1" dirty="0">
              <a:solidFill>
                <a:srgbClr val="538CD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2"/>
          <p:cNvSpPr/>
          <p:nvPr/>
        </p:nvSpPr>
        <p:spPr>
          <a:xfrm>
            <a:off x="1393540" y="2541410"/>
            <a:ext cx="2783134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rgbClr val="935B00"/>
                </a:solidFill>
                <a:latin typeface="Calibri"/>
                <a:ea typeface="Calibri"/>
                <a:cs typeface="Calibri"/>
                <a:sym typeface="Calibri"/>
              </a:rPr>
              <a:t>10</a:t>
            </a:r>
            <a:r>
              <a:rPr lang="az-Latn-AZ" sz="1800" b="1" dirty="0">
                <a:solidFill>
                  <a:srgbClr val="935B00"/>
                </a:solidFill>
                <a:latin typeface="Calibri"/>
                <a:ea typeface="Calibri"/>
                <a:cs typeface="Calibri"/>
                <a:sym typeface="Calibri"/>
              </a:rPr>
              <a:t>.1</a:t>
            </a:r>
            <a:r>
              <a:rPr lang="en-US" sz="1800" b="1" dirty="0">
                <a:solidFill>
                  <a:srgbClr val="935B00"/>
                </a:solidFill>
                <a:latin typeface="Calibri"/>
                <a:ea typeface="Calibri"/>
                <a:cs typeface="Calibri"/>
                <a:sym typeface="Calibri"/>
              </a:rPr>
              <a:t> MİLLİON</a:t>
            </a:r>
            <a:r>
              <a:rPr lang="az-Latn-AZ" sz="1800" b="1" dirty="0">
                <a:solidFill>
                  <a:srgbClr val="935B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 b="1" dirty="0">
                <a:solidFill>
                  <a:srgbClr val="935B00"/>
                </a:solidFill>
                <a:latin typeface="Calibri"/>
                <a:ea typeface="Calibri"/>
                <a:cs typeface="Calibri"/>
                <a:sym typeface="Calibri"/>
              </a:rPr>
              <a:t>POPULATION</a:t>
            </a:r>
            <a:endParaRPr dirty="0">
              <a:solidFill>
                <a:srgbClr val="935B00"/>
              </a:solidFill>
            </a:endParaRPr>
          </a:p>
        </p:txBody>
      </p:sp>
      <p:grpSp>
        <p:nvGrpSpPr>
          <p:cNvPr id="49" name="Google Shape;49;p2"/>
          <p:cNvGrpSpPr/>
          <p:nvPr/>
        </p:nvGrpSpPr>
        <p:grpSpPr>
          <a:xfrm>
            <a:off x="5784998" y="1172149"/>
            <a:ext cx="6091834" cy="3541550"/>
            <a:chOff x="0" y="0"/>
            <a:chExt cx="7629106" cy="6670397"/>
          </a:xfrm>
          <a:effectLst/>
        </p:grpSpPr>
        <p:sp>
          <p:nvSpPr>
            <p:cNvPr id="50" name="Google Shape;50;p2"/>
            <p:cNvSpPr/>
            <p:nvPr/>
          </p:nvSpPr>
          <p:spPr>
            <a:xfrm>
              <a:off x="127000" y="88900"/>
              <a:ext cx="7375106" cy="634019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50800" tIns="50800" rIns="50800" bIns="50800" anchor="ctr" anchorCtr="0">
              <a:noAutofit/>
            </a:bodyPr>
            <a:lstStyle/>
            <a:p>
              <a:pPr marL="0" marR="0" lvl="0" indent="0" algn="l" rtl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1" name="Google Shape;51;p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0" y="0"/>
              <a:ext cx="7629106" cy="6670397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52" name="Google Shape;52;p2"/>
          <p:cNvGraphicFramePr/>
          <p:nvPr/>
        </p:nvGraphicFramePr>
        <p:xfrm>
          <a:off x="6006451" y="1334452"/>
          <a:ext cx="5448949" cy="3115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3" name="Google Shape;53;p2"/>
          <p:cNvSpPr/>
          <p:nvPr/>
        </p:nvSpPr>
        <p:spPr>
          <a:xfrm>
            <a:off x="8276304" y="1466466"/>
            <a:ext cx="1109223" cy="1059801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Calibri"/>
              <a:buNone/>
            </a:pPr>
            <a:r>
              <a:rPr lang="en-US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GDP</a:t>
            </a:r>
            <a:r>
              <a:rPr lang="en-US" sz="1200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lang="az-Latn-AZ" sz="12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Calibri"/>
              <a:buNone/>
            </a:pPr>
            <a:endParaRPr lang="az-Latn-AZ" sz="1200" b="1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Calibri"/>
              <a:buNone/>
            </a:pPr>
            <a:r>
              <a:rPr lang="en-US" sz="2000" b="1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54</a:t>
            </a:r>
            <a:r>
              <a:rPr lang="az-Latn-AZ" sz="2000" b="1" dirty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t>.6</a:t>
            </a:r>
            <a:endParaRPr lang="az-Latn-AZ" sz="1200" dirty="0">
              <a:solidFill>
                <a:schemeClr val="bg1"/>
              </a:solidFill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Calibri"/>
              <a:buNone/>
            </a:pPr>
            <a:endParaRPr lang="az-Latn-AZ" sz="12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Calibri"/>
              <a:buNone/>
            </a:pPr>
            <a:r>
              <a:rPr lang="en-US" sz="1200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BLN USD</a:t>
            </a:r>
            <a:endParaRPr sz="12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" name="Google Shape;54;p2"/>
          <p:cNvSpPr txBox="1"/>
          <p:nvPr/>
        </p:nvSpPr>
        <p:spPr>
          <a:xfrm>
            <a:off x="6394906" y="6570742"/>
            <a:ext cx="3687554" cy="2872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0800" tIns="50800" rIns="50800" bIns="50800" anchor="ctr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38787"/>
              </a:buClr>
              <a:buSzPts val="1200"/>
              <a:buFont typeface="Calibri"/>
              <a:buNone/>
            </a:pPr>
            <a:r>
              <a:rPr lang="en-US" sz="1200" b="0" i="0" u="none" strike="noStrike" cap="none" dirty="0">
                <a:solidFill>
                  <a:srgbClr val="838787"/>
                </a:solidFill>
                <a:latin typeface="Calibri"/>
                <a:ea typeface="Calibri"/>
                <a:cs typeface="Calibri"/>
                <a:sym typeface="Calibri"/>
              </a:rPr>
              <a:t>Source: State </a:t>
            </a:r>
            <a:r>
              <a:rPr lang="en-US" sz="1200" dirty="0">
                <a:solidFill>
                  <a:srgbClr val="838787"/>
                </a:solidFill>
                <a:latin typeface="Calibri"/>
                <a:ea typeface="Calibri"/>
                <a:cs typeface="Calibri"/>
                <a:sym typeface="Calibri"/>
              </a:rPr>
              <a:t>Statistical Committee of Azerbaijan</a:t>
            </a:r>
            <a:endParaRPr sz="1200" dirty="0">
              <a:solidFill>
                <a:srgbClr val="83878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67;p3"/>
          <p:cNvSpPr/>
          <p:nvPr/>
        </p:nvSpPr>
        <p:spPr>
          <a:xfrm>
            <a:off x="44859" y="4333231"/>
            <a:ext cx="5617591" cy="221921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33519" y="3879190"/>
            <a:ext cx="262443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N OIL GDP IN 2021: (</a:t>
            </a:r>
            <a:r>
              <a:rPr lang="az-Latn-AZ" sz="16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6</a:t>
            </a:r>
            <a:r>
              <a:rPr lang="en-US" sz="16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2%</a:t>
            </a:r>
            <a:r>
              <a:rPr lang="en-US" sz="16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836" y="5109724"/>
            <a:ext cx="1026891" cy="102689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/>
          <p:cNvSpPr/>
          <p:nvPr/>
        </p:nvSpPr>
        <p:spPr>
          <a:xfrm>
            <a:off x="7453094" y="4853729"/>
            <a:ext cx="307918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az-Latn-AZ" sz="1600" b="1" u="sng" dirty="0">
                <a:solidFill>
                  <a:schemeClr val="tx1"/>
                </a:solidFill>
                <a:latin typeface="Calibri"/>
                <a:cs typeface="Calibri"/>
              </a:rPr>
              <a:t>During 1995 – 2021:</a:t>
            </a:r>
          </a:p>
          <a:p>
            <a:r>
              <a:rPr lang="en-US" sz="1800" b="1" dirty="0">
                <a:solidFill>
                  <a:srgbClr val="FF0000"/>
                </a:solidFill>
                <a:latin typeface="Calibri"/>
                <a:cs typeface="Calibri"/>
              </a:rPr>
              <a:t>5</a:t>
            </a:r>
            <a:r>
              <a:rPr lang="az-Latn-AZ" sz="1800" b="1" dirty="0">
                <a:solidFill>
                  <a:srgbClr val="FF0000"/>
                </a:solidFill>
                <a:latin typeface="Calibri"/>
                <a:cs typeface="Calibri"/>
              </a:rPr>
              <a:t>9</a:t>
            </a:r>
            <a:r>
              <a:rPr lang="en-US" sz="1800" b="1" dirty="0">
                <a:solidFill>
                  <a:srgbClr val="FF0000"/>
                </a:solidFill>
                <a:latin typeface="Calibri"/>
                <a:cs typeface="Calibri"/>
              </a:rPr>
              <a:t>.</a:t>
            </a:r>
            <a:r>
              <a:rPr lang="az-Latn-AZ" sz="1800" b="1" dirty="0">
                <a:solidFill>
                  <a:srgbClr val="FF0000"/>
                </a:solidFill>
                <a:latin typeface="Calibri"/>
                <a:cs typeface="Calibri"/>
              </a:rPr>
              <a:t>3</a:t>
            </a:r>
            <a:r>
              <a:rPr lang="en-US" sz="1800" b="1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800" b="1" dirty="0" err="1">
                <a:solidFill>
                  <a:srgbClr val="FF0000"/>
                </a:solidFill>
                <a:latin typeface="Calibri"/>
                <a:cs typeface="Calibri"/>
              </a:rPr>
              <a:t>bln</a:t>
            </a:r>
            <a:r>
              <a:rPr lang="en-US" sz="1800" b="1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800" b="1" dirty="0" err="1">
                <a:solidFill>
                  <a:srgbClr val="FF0000"/>
                </a:solidFill>
                <a:latin typeface="Calibri"/>
                <a:cs typeface="Calibri"/>
              </a:rPr>
              <a:t>usd</a:t>
            </a:r>
            <a:r>
              <a:rPr lang="en-US" sz="1800" b="1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alibri"/>
                <a:cs typeface="Calibri"/>
              </a:rPr>
              <a:t>– the volume of investment in the non-oil sector.</a:t>
            </a:r>
          </a:p>
          <a:p>
            <a:r>
              <a:rPr lang="en-US" b="1" dirty="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 </a:t>
            </a:r>
            <a:endParaRPr lang="az-Latn-AZ" b="1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r>
              <a:rPr lang="az-Latn-AZ" sz="1800" b="1" dirty="0">
                <a:solidFill>
                  <a:srgbClr val="FF0000"/>
                </a:solidFill>
                <a:latin typeface="Calibri"/>
                <a:cs typeface="Calibri"/>
              </a:rPr>
              <a:t>15.6 </a:t>
            </a:r>
            <a:r>
              <a:rPr lang="az-Latn-AZ" sz="1800" b="1" dirty="0" err="1">
                <a:solidFill>
                  <a:srgbClr val="FF0000"/>
                </a:solidFill>
                <a:latin typeface="Calibri"/>
                <a:cs typeface="Calibri"/>
              </a:rPr>
              <a:t>bln</a:t>
            </a:r>
            <a:r>
              <a:rPr lang="az-Latn-AZ" sz="1800" b="1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az-Latn-AZ" sz="1800" b="1" dirty="0" err="1">
                <a:solidFill>
                  <a:srgbClr val="FF0000"/>
                </a:solidFill>
                <a:latin typeface="Calibri"/>
                <a:cs typeface="Calibri"/>
              </a:rPr>
              <a:t>usd</a:t>
            </a:r>
            <a:r>
              <a:rPr lang="az-Latn-AZ" sz="1800" b="1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Calibri"/>
                <a:cs typeface="Calibri"/>
              </a:rPr>
              <a:t>– the volume of </a:t>
            </a:r>
            <a:r>
              <a:rPr lang="az-Latn-AZ" sz="1600" b="1" dirty="0">
                <a:solidFill>
                  <a:schemeClr val="tx1"/>
                </a:solidFill>
                <a:latin typeface="Calibri"/>
                <a:cs typeface="Calibri"/>
              </a:rPr>
              <a:t>FD</a:t>
            </a:r>
            <a:r>
              <a:rPr lang="en-US" sz="1600" b="1" dirty="0">
                <a:solidFill>
                  <a:schemeClr val="tx1"/>
                </a:solidFill>
                <a:latin typeface="Calibri"/>
                <a:cs typeface="Calibri"/>
              </a:rPr>
              <a:t>I in the non-oil sector.</a:t>
            </a:r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83C9F4B4-6CC9-4B9C-A695-674C6A640F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8563" y="2305016"/>
            <a:ext cx="836864" cy="83686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71128270-2CF9-3E51-0081-F11E36E485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7846250"/>
              </p:ext>
            </p:extLst>
          </p:nvPr>
        </p:nvGraphicFramePr>
        <p:xfrm>
          <a:off x="426590" y="4345352"/>
          <a:ext cx="5026724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D26638FC-0659-2555-E95E-AD23FB4A2A67}"/>
              </a:ext>
            </a:extLst>
          </p:cNvPr>
          <p:cNvSpPr txBox="1"/>
          <p:nvPr/>
        </p:nvSpPr>
        <p:spPr>
          <a:xfrm>
            <a:off x="333519" y="4312493"/>
            <a:ext cx="38220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b="1" dirty="0"/>
              <a:t>GDP structure (%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7D9EB2-53C1-18A3-8E58-CA0F45F4A856}"/>
              </a:ext>
            </a:extLst>
          </p:cNvPr>
          <p:cNvGrpSpPr/>
          <p:nvPr/>
        </p:nvGrpSpPr>
        <p:grpSpPr>
          <a:xfrm>
            <a:off x="3977639" y="4288536"/>
            <a:ext cx="1633010" cy="307777"/>
            <a:chOff x="3922775" y="4014216"/>
            <a:chExt cx="1633010" cy="30777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1F93B1A-D3A1-75B2-1C87-CC0AD8516471}"/>
                </a:ext>
              </a:extLst>
            </p:cNvPr>
            <p:cNvGrpSpPr/>
            <p:nvPr/>
          </p:nvGrpSpPr>
          <p:grpSpPr>
            <a:xfrm>
              <a:off x="3922775" y="4014216"/>
              <a:ext cx="1069847" cy="307777"/>
              <a:chOff x="3922776" y="4014216"/>
              <a:chExt cx="1432665" cy="307777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7B1E791A-0542-8922-7F35-548B773763B8}"/>
                  </a:ext>
                </a:extLst>
              </p:cNvPr>
              <p:cNvSpPr/>
              <p:nvPr/>
            </p:nvSpPr>
            <p:spPr>
              <a:xfrm>
                <a:off x="3922776" y="4105248"/>
                <a:ext cx="241044" cy="144000"/>
              </a:xfrm>
              <a:prstGeom prst="rect">
                <a:avLst/>
              </a:prstGeom>
              <a:solidFill>
                <a:srgbClr val="C0504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D93CE6B4-8D22-9003-664F-F9AEF4EDFD73}"/>
                  </a:ext>
                </a:extLst>
              </p:cNvPr>
              <p:cNvSpPr txBox="1"/>
              <p:nvPr/>
            </p:nvSpPr>
            <p:spPr>
              <a:xfrm>
                <a:off x="4118868" y="4014216"/>
                <a:ext cx="123657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/>
                  <a:t>oil</a:t>
                </a:r>
                <a:endParaRPr lang="en-US" dirty="0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E153AA68-A74B-7970-B5D0-3D7873E0E04C}"/>
                </a:ext>
              </a:extLst>
            </p:cNvPr>
            <p:cNvGrpSpPr/>
            <p:nvPr/>
          </p:nvGrpSpPr>
          <p:grpSpPr>
            <a:xfrm>
              <a:off x="4485938" y="4014216"/>
              <a:ext cx="1069847" cy="307777"/>
              <a:chOff x="3922776" y="4014216"/>
              <a:chExt cx="1432665" cy="307777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59BD9903-AC43-FC2C-D249-5C225150761A}"/>
                  </a:ext>
                </a:extLst>
              </p:cNvPr>
              <p:cNvSpPr/>
              <p:nvPr/>
            </p:nvSpPr>
            <p:spPr>
              <a:xfrm>
                <a:off x="3922776" y="4105248"/>
                <a:ext cx="241044" cy="144000"/>
              </a:xfrm>
              <a:prstGeom prst="rect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64FDB0A0-550E-C91A-59C0-36FFD8F798D4}"/>
                  </a:ext>
                </a:extLst>
              </p:cNvPr>
              <p:cNvSpPr txBox="1"/>
              <p:nvPr/>
            </p:nvSpPr>
            <p:spPr>
              <a:xfrm>
                <a:off x="4118868" y="4014216"/>
                <a:ext cx="123657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dirty="0"/>
                  <a:t>non-oil</a:t>
                </a:r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84618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4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sp>
        <p:nvSpPr>
          <p:cNvPr id="89" name="Google Shape;89;p4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91" name="Google Shape;91;p4"/>
          <p:cNvSpPr txBox="1"/>
          <p:nvPr/>
        </p:nvSpPr>
        <p:spPr>
          <a:xfrm>
            <a:off x="306547" y="301398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PROVE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  <a:sym typeface="Quattrocento Sans"/>
              </a:rPr>
              <a:t> </a:t>
            </a:r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TRADING PARTNER – 202</a:t>
            </a:r>
            <a:r>
              <a:rPr lang="az-Latn-AZ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1</a:t>
            </a:r>
            <a:endParaRPr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3" name="Google Shape;93;p4"/>
          <p:cNvSpPr/>
          <p:nvPr/>
        </p:nvSpPr>
        <p:spPr>
          <a:xfrm>
            <a:off x="1286218" y="1508851"/>
            <a:ext cx="3094821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S$ 22.2 BLN</a:t>
            </a:r>
            <a:endParaRPr sz="12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OTAL VALUE OF EXPORTS </a:t>
            </a:r>
            <a:endParaRPr sz="12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5" name="Google Shape;95;p4"/>
          <p:cNvCxnSpPr>
            <a:cxnSpLocks/>
          </p:cNvCxnSpPr>
          <p:nvPr/>
        </p:nvCxnSpPr>
        <p:spPr>
          <a:xfrm rot="10800000" flipH="1">
            <a:off x="471271" y="2159670"/>
            <a:ext cx="5064442" cy="1223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98" name="Google Shape;98;p4"/>
          <p:cNvSpPr/>
          <p:nvPr/>
        </p:nvSpPr>
        <p:spPr>
          <a:xfrm>
            <a:off x="7686127" y="1508851"/>
            <a:ext cx="2935763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S$ 11.7 BLN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OTAL VALUE OF IMPORTS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9" name="Google Shape;99;p4"/>
          <p:cNvCxnSpPr/>
          <p:nvPr/>
        </p:nvCxnSpPr>
        <p:spPr>
          <a:xfrm rot="10800000" flipH="1">
            <a:off x="6535580" y="2158447"/>
            <a:ext cx="5064442" cy="1223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graphicFrame>
        <p:nvGraphicFramePr>
          <p:cNvPr id="100" name="Google Shape;100;p4"/>
          <p:cNvGraphicFramePr/>
          <p:nvPr>
            <p:extLst>
              <p:ext uri="{D42A27DB-BD31-4B8C-83A1-F6EECF244321}">
                <p14:modId xmlns:p14="http://schemas.microsoft.com/office/powerpoint/2010/main" val="3108975724"/>
              </p:ext>
            </p:extLst>
          </p:nvPr>
        </p:nvGraphicFramePr>
        <p:xfrm>
          <a:off x="6806652" y="2408006"/>
          <a:ext cx="4892025" cy="1885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" name="Google Shape;102;p4"/>
          <p:cNvSpPr/>
          <p:nvPr/>
        </p:nvSpPr>
        <p:spPr>
          <a:xfrm>
            <a:off x="309376" y="6554432"/>
            <a:ext cx="292259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838787"/>
                </a:solidFill>
                <a:latin typeface="Calibri"/>
                <a:ea typeface="Calibri"/>
                <a:cs typeface="Calibri"/>
                <a:sym typeface="Calibri"/>
              </a:rPr>
              <a:t>Source: State Customs Committee of Azerbaijan</a:t>
            </a:r>
            <a:endParaRPr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7B4AFE6-08DE-4444-A763-EA883AD7E4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598385"/>
              </p:ext>
            </p:extLst>
          </p:nvPr>
        </p:nvGraphicFramePr>
        <p:xfrm>
          <a:off x="428764" y="2383751"/>
          <a:ext cx="5356916" cy="2004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091EAD5-7019-4945-8787-BC21DD7602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2844917"/>
              </p:ext>
            </p:extLst>
          </p:nvPr>
        </p:nvGraphicFramePr>
        <p:xfrm>
          <a:off x="238668" y="4188259"/>
          <a:ext cx="5440930" cy="2266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BBEDD72-DBA7-4F8C-A96F-A59AFB6363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3240866"/>
              </p:ext>
            </p:extLst>
          </p:nvPr>
        </p:nvGraphicFramePr>
        <p:xfrm>
          <a:off x="5236303" y="4386254"/>
          <a:ext cx="6230613" cy="2299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544809B-A401-4F07-AA5D-0BEE04945F31}"/>
              </a:ext>
            </a:extLst>
          </p:cNvPr>
          <p:cNvCxnSpPr>
            <a:cxnSpLocks/>
          </p:cNvCxnSpPr>
          <p:nvPr/>
        </p:nvCxnSpPr>
        <p:spPr>
          <a:xfrm>
            <a:off x="6035646" y="1261587"/>
            <a:ext cx="0" cy="5424414"/>
          </a:xfrm>
          <a:prstGeom prst="line">
            <a:avLst/>
          </a:prstGeom>
          <a:ln w="12700">
            <a:solidFill>
              <a:srgbClr val="887735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5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sp>
        <p:nvSpPr>
          <p:cNvPr id="110" name="Google Shape;110;p5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112" name="Google Shape;112;p5"/>
          <p:cNvSpPr txBox="1"/>
          <p:nvPr/>
        </p:nvSpPr>
        <p:spPr>
          <a:xfrm>
            <a:off x="306547" y="301398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EFFECTIVE TIME SAVING ROUTES</a:t>
            </a:r>
            <a:endParaRPr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3" name="Google Shape;113;p5"/>
          <p:cNvSpPr/>
          <p:nvPr/>
        </p:nvSpPr>
        <p:spPr>
          <a:xfrm>
            <a:off x="101142" y="1240337"/>
            <a:ext cx="5589974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1" dirty="0">
              <a:solidFill>
                <a:schemeClr val="dk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60%</a:t>
            </a:r>
            <a:r>
              <a:rPr lang="en-US" sz="1600" b="1" dirty="0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IME SAVING FOR NORTH-SOUTH ROUTE </a:t>
            </a:r>
            <a:endParaRPr lang="az-Latn-AZ" sz="16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(INDIA - EUROPE)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5" name="Google Shape;115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6548" y="2281648"/>
            <a:ext cx="5508000" cy="35853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Google Shape;116;p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940272" y="2281648"/>
            <a:ext cx="5508015" cy="3585398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0F0F55D-86C3-4CF9-8EC6-1F7CB32102FF}"/>
              </a:ext>
            </a:extLst>
          </p:cNvPr>
          <p:cNvSpPr txBox="1"/>
          <p:nvPr/>
        </p:nvSpPr>
        <p:spPr>
          <a:xfrm>
            <a:off x="5691116" y="1486256"/>
            <a:ext cx="60944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70%</a:t>
            </a:r>
            <a:r>
              <a:rPr lang="en-US" sz="1600" b="1" dirty="0">
                <a:solidFill>
                  <a:srgbClr val="4E81BD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IME SAVING (CHINA - EUROPE MARITIME ROUTE)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E7E2D0-740D-44AC-B3F9-71A2CA3EB6A1}"/>
              </a:ext>
            </a:extLst>
          </p:cNvPr>
          <p:cNvCxnSpPr>
            <a:cxnSpLocks/>
          </p:cNvCxnSpPr>
          <p:nvPr/>
        </p:nvCxnSpPr>
        <p:spPr>
          <a:xfrm>
            <a:off x="5871110" y="1240337"/>
            <a:ext cx="0" cy="5424414"/>
          </a:xfrm>
          <a:prstGeom prst="line">
            <a:avLst/>
          </a:prstGeom>
          <a:ln w="12700">
            <a:solidFill>
              <a:srgbClr val="887735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6"/>
          <p:cNvSpPr txBox="1">
            <a:spLocks noGrp="1"/>
          </p:cNvSpPr>
          <p:nvPr>
            <p:ph type="sldNum" idx="12"/>
          </p:nvPr>
        </p:nvSpPr>
        <p:spPr>
          <a:xfrm>
            <a:off x="11085416" y="633566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  <p:sp>
        <p:nvSpPr>
          <p:cNvPr id="124" name="Google Shape;124;p6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126" name="Google Shape;126;p6"/>
          <p:cNvSpPr txBox="1"/>
          <p:nvPr/>
        </p:nvSpPr>
        <p:spPr>
          <a:xfrm>
            <a:off x="306547" y="301398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WELL DEVELOPED INFRASTRUCTURE</a:t>
            </a:r>
            <a:endParaRPr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8" name="Google Shape;128;p6" descr="C:\Documents and Settings\Rufat Mammadov\Desktop\4365_heydar-aliyev-international-airport-new-terminal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555583" y="1270332"/>
            <a:ext cx="4198700" cy="2289008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31" name="Google Shape;131;p6" descr="C:\Documents and Settings\nrasulova.AZPROMO\Desktop\sea-port-services-768800.jpg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243594" y="4045247"/>
            <a:ext cx="3917701" cy="236926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6" name="Google Shape;136;p6"/>
          <p:cNvSpPr/>
          <p:nvPr/>
        </p:nvSpPr>
        <p:spPr>
          <a:xfrm>
            <a:off x="306547" y="1276672"/>
            <a:ext cx="5641861" cy="4543808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spcFirstLastPara="1" wrap="square" lIns="50800" tIns="50800" rIns="50800" bIns="50800" anchor="t" anchorCtr="0">
            <a:spAutoFit/>
          </a:bodyPr>
          <a:lstStyle/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endParaRPr lang="en-US" sz="1500" cap="none" dirty="0">
              <a:solidFill>
                <a:schemeClr val="dk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lmost 20 thousand km of 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oads and highways</a:t>
            </a: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constructed and rehabilitated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endParaRPr lang="en-US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8 new international 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irports,</a:t>
            </a: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ncluding in the liberated areas of Azerbaijan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endParaRPr lang="en-US" sz="1600" b="1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aku-</a:t>
            </a:r>
            <a:r>
              <a:rPr lang="az-Latn-AZ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</a:t>
            </a:r>
            <a:r>
              <a:rPr lang="en-US" sz="1600" b="1" cap="none" dirty="0" err="1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ilisi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-</a:t>
            </a:r>
            <a:r>
              <a:rPr lang="az-Latn-AZ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K</a:t>
            </a:r>
            <a:r>
              <a:rPr lang="en-US" sz="1600" b="1" cap="none" dirty="0" err="1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rs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ailroad (“The Iron </a:t>
            </a:r>
            <a:r>
              <a:rPr lang="en-US" sz="1600" cap="none" dirty="0" err="1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ilkway</a:t>
            </a: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”)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endParaRPr lang="en-US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r>
              <a:rPr lang="en-US" sz="1600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ew </a:t>
            </a:r>
            <a:r>
              <a:rPr lang="az-Latn-AZ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</a:t>
            </a:r>
            <a:r>
              <a:rPr lang="en-US" sz="1600" b="1" cap="none" dirty="0" err="1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ku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I</a:t>
            </a:r>
            <a:r>
              <a:rPr lang="en-US" sz="16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ternational Sea Trade Port</a:t>
            </a:r>
            <a:endParaRPr lang="en-US" sz="1600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179388" marR="0" lvl="0" indent="-179388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AFEZ </a:t>
            </a:r>
            <a:r>
              <a:rPr lang="en-US" sz="16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s a multi-modal site in a prime strategic location offering a wide range of incentives and benefits</a:t>
            </a:r>
          </a:p>
          <a:p>
            <a:pPr marL="342900" marR="0" lvl="0" indent="-34290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Wingdings" panose="05000000000000000000" pitchFamily="2" charset="2"/>
              <a:buChar char="Ø"/>
            </a:pPr>
            <a:endParaRPr lang="en-US" sz="15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816C110-0C4C-4D8C-A515-765620E38610}"/>
              </a:ext>
            </a:extLst>
          </p:cNvPr>
          <p:cNvCxnSpPr>
            <a:cxnSpLocks/>
          </p:cNvCxnSpPr>
          <p:nvPr/>
        </p:nvCxnSpPr>
        <p:spPr>
          <a:xfrm>
            <a:off x="6042244" y="3948874"/>
            <a:ext cx="4309771" cy="0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392B287-0DBF-4DEF-ADE2-207520EB17FE}"/>
              </a:ext>
            </a:extLst>
          </p:cNvPr>
          <p:cNvCxnSpPr>
            <a:cxnSpLocks/>
          </p:cNvCxnSpPr>
          <p:nvPr/>
        </p:nvCxnSpPr>
        <p:spPr>
          <a:xfrm flipV="1">
            <a:off x="6135110" y="3852683"/>
            <a:ext cx="0" cy="2687774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F3F767D-338E-4916-B133-B480260A15BD}"/>
              </a:ext>
            </a:extLst>
          </p:cNvPr>
          <p:cNvCxnSpPr>
            <a:cxnSpLocks/>
          </p:cNvCxnSpPr>
          <p:nvPr/>
        </p:nvCxnSpPr>
        <p:spPr>
          <a:xfrm flipV="1">
            <a:off x="10264477" y="3852683"/>
            <a:ext cx="0" cy="2687774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305F24-23D6-45B0-AA75-B530FD07017F}"/>
              </a:ext>
            </a:extLst>
          </p:cNvPr>
          <p:cNvCxnSpPr>
            <a:cxnSpLocks/>
          </p:cNvCxnSpPr>
          <p:nvPr/>
        </p:nvCxnSpPr>
        <p:spPr>
          <a:xfrm>
            <a:off x="6042244" y="6458683"/>
            <a:ext cx="4309771" cy="0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09C3057-002A-4B9D-BC4E-C285E7A166A3}"/>
              </a:ext>
            </a:extLst>
          </p:cNvPr>
          <p:cNvCxnSpPr>
            <a:cxnSpLocks/>
          </p:cNvCxnSpPr>
          <p:nvPr/>
        </p:nvCxnSpPr>
        <p:spPr>
          <a:xfrm>
            <a:off x="7379479" y="1186820"/>
            <a:ext cx="4554855" cy="0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92662FB-AA28-403B-8D14-B67C82776518}"/>
              </a:ext>
            </a:extLst>
          </p:cNvPr>
          <p:cNvCxnSpPr>
            <a:cxnSpLocks/>
          </p:cNvCxnSpPr>
          <p:nvPr/>
        </p:nvCxnSpPr>
        <p:spPr>
          <a:xfrm flipV="1">
            <a:off x="7472345" y="1090629"/>
            <a:ext cx="0" cy="2687774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EC15623-DF2A-459E-9049-CB2067D14001}"/>
              </a:ext>
            </a:extLst>
          </p:cNvPr>
          <p:cNvCxnSpPr>
            <a:cxnSpLocks/>
          </p:cNvCxnSpPr>
          <p:nvPr/>
        </p:nvCxnSpPr>
        <p:spPr>
          <a:xfrm flipV="1">
            <a:off x="11827956" y="1090629"/>
            <a:ext cx="0" cy="2687774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ACEAA85-EF2D-42B0-9963-FACA53488DD6}"/>
              </a:ext>
            </a:extLst>
          </p:cNvPr>
          <p:cNvCxnSpPr>
            <a:cxnSpLocks/>
          </p:cNvCxnSpPr>
          <p:nvPr/>
        </p:nvCxnSpPr>
        <p:spPr>
          <a:xfrm>
            <a:off x="7379479" y="3696629"/>
            <a:ext cx="4554855" cy="0"/>
          </a:xfrm>
          <a:prstGeom prst="line">
            <a:avLst/>
          </a:prstGeom>
          <a:ln w="12700">
            <a:solidFill>
              <a:srgbClr val="88773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8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174" name="Google Shape;174;p8"/>
          <p:cNvSpPr txBox="1">
            <a:spLocks noGrp="1"/>
          </p:cNvSpPr>
          <p:nvPr>
            <p:ph type="title"/>
          </p:nvPr>
        </p:nvSpPr>
        <p:spPr>
          <a:xfrm>
            <a:off x="278563" y="267272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/>
              <a:t> </a:t>
            </a:r>
            <a:endParaRPr/>
          </a:p>
        </p:txBody>
      </p:sp>
      <p:sp>
        <p:nvSpPr>
          <p:cNvPr id="176" name="Google Shape;176;p8"/>
          <p:cNvSpPr txBox="1"/>
          <p:nvPr/>
        </p:nvSpPr>
        <p:spPr>
          <a:xfrm>
            <a:off x="306547" y="301398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>
              <a:buNone/>
              <a:defRPr sz="1800" b="1">
                <a:solidFill>
                  <a:srgbClr val="887735"/>
                </a:solidFill>
                <a:latin typeface="+mj-lt"/>
                <a:ea typeface="Quattrocento Sans"/>
                <a:cs typeface="Quattrocento Sans"/>
              </a:defRPr>
            </a:lvl1pPr>
          </a:lstStyle>
          <a:p>
            <a:r>
              <a:rPr lang="en-US" sz="2000" dirty="0">
                <a:latin typeface="Segoe UI" panose="020B0502040204020203" pitchFamily="34" charset="0"/>
                <a:cs typeface="Segoe UI" panose="020B0502040204020203" pitchFamily="34" charset="0"/>
                <a:sym typeface="Quattrocento Sans"/>
              </a:rPr>
              <a:t>STATE OIL FUND AND SOVEREIGN RATINGS</a:t>
            </a:r>
            <a:endParaRPr lang="en-US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7" name="Google Shape;177;p8"/>
          <p:cNvSpPr/>
          <p:nvPr/>
        </p:nvSpPr>
        <p:spPr>
          <a:xfrm>
            <a:off x="278563" y="1903461"/>
            <a:ext cx="5797296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OFAZ'S PORTFOLIO BREAKDOWN BY ASSET CLASS</a:t>
            </a:r>
            <a:endParaRPr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8" name="Google Shape;178;p8"/>
          <p:cNvSpPr/>
          <p:nvPr/>
        </p:nvSpPr>
        <p:spPr>
          <a:xfrm>
            <a:off x="794985" y="1584257"/>
            <a:ext cx="480479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/>
            <a:r>
              <a:rPr lang="en-US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45.</a:t>
            </a:r>
            <a:r>
              <a:rPr lang="ru-RU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4</a:t>
            </a:r>
            <a:r>
              <a:rPr lang="en-US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az-Latn-AZ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</a:t>
            </a:r>
            <a:r>
              <a:rPr lang="en-US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LN.USD </a:t>
            </a: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-</a:t>
            </a:r>
            <a:r>
              <a:rPr lang="en-US" sz="1800" b="1" dirty="0">
                <a:solidFill>
                  <a:srgbClr val="FF0000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</a:t>
            </a: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AS OF </a:t>
            </a:r>
            <a:r>
              <a:rPr lang="en-GB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JULY</a:t>
            </a: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 1, 2022</a:t>
            </a:r>
            <a:endParaRPr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</p:txBody>
      </p:sp>
      <p:graphicFrame>
        <p:nvGraphicFramePr>
          <p:cNvPr id="179" name="Google Shape;179;p8"/>
          <p:cNvGraphicFramePr/>
          <p:nvPr>
            <p:extLst>
              <p:ext uri="{D42A27DB-BD31-4B8C-83A1-F6EECF244321}">
                <p14:modId xmlns:p14="http://schemas.microsoft.com/office/powerpoint/2010/main" val="1972221733"/>
              </p:ext>
            </p:extLst>
          </p:nvPr>
        </p:nvGraphicFramePr>
        <p:xfrm>
          <a:off x="265688" y="2621428"/>
          <a:ext cx="5863384" cy="3836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3ED4C1FD-A057-4694-9563-5DC71EA1AA6A}"/>
              </a:ext>
            </a:extLst>
          </p:cNvPr>
          <p:cNvGrpSpPr/>
          <p:nvPr/>
        </p:nvGrpSpPr>
        <p:grpSpPr>
          <a:xfrm>
            <a:off x="7017499" y="2696842"/>
            <a:ext cx="4402350" cy="2916936"/>
            <a:chOff x="6946636" y="2921101"/>
            <a:chExt cx="4402350" cy="2916936"/>
          </a:xfrm>
        </p:grpSpPr>
        <p:sp>
          <p:nvSpPr>
            <p:cNvPr id="18" name="Google Shape;155;p7">
              <a:extLst>
                <a:ext uri="{FF2B5EF4-FFF2-40B4-BE49-F238E27FC236}">
                  <a16:creationId xmlns:a16="http://schemas.microsoft.com/office/drawing/2014/main" id="{1D17B514-C815-4A1B-B8D3-4B32C1CA2404}"/>
                </a:ext>
              </a:extLst>
            </p:cNvPr>
            <p:cNvSpPr/>
            <p:nvPr/>
          </p:nvSpPr>
          <p:spPr>
            <a:xfrm>
              <a:off x="6946636" y="3156814"/>
              <a:ext cx="4402350" cy="679109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9525" cap="flat" cmpd="sng">
              <a:solidFill>
                <a:schemeClr val="accent1">
                  <a:alpha val="89803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Google Shape;156;p7">
              <a:extLst>
                <a:ext uri="{FF2B5EF4-FFF2-40B4-BE49-F238E27FC236}">
                  <a16:creationId xmlns:a16="http://schemas.microsoft.com/office/drawing/2014/main" id="{49750A16-16B9-45BD-A46D-478E36479997}"/>
                </a:ext>
              </a:extLst>
            </p:cNvPr>
            <p:cNvSpPr txBox="1"/>
            <p:nvPr/>
          </p:nvSpPr>
          <p:spPr>
            <a:xfrm>
              <a:off x="6946636" y="3156814"/>
              <a:ext cx="4402350" cy="67910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458350" tIns="416550" rIns="458350" bIns="142225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BB+, Outlook Stable</a:t>
              </a:r>
              <a:endParaRPr sz="1800" b="0" i="0" u="none" strike="noStrike" cap="none" dirty="0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20" name="Google Shape;157;p7">
              <a:extLst>
                <a:ext uri="{FF2B5EF4-FFF2-40B4-BE49-F238E27FC236}">
                  <a16:creationId xmlns:a16="http://schemas.microsoft.com/office/drawing/2014/main" id="{E7EF69B0-78EB-4F0C-87E8-44DFAE3D1AF7}"/>
                </a:ext>
              </a:extLst>
            </p:cNvPr>
            <p:cNvSpPr/>
            <p:nvPr/>
          </p:nvSpPr>
          <p:spPr>
            <a:xfrm>
              <a:off x="7166754" y="2921101"/>
              <a:ext cx="3081645" cy="471424"/>
            </a:xfrm>
            <a:prstGeom prst="roundRect">
              <a:avLst>
                <a:gd name="adj" fmla="val 16667"/>
              </a:avLst>
            </a:prstGeom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Google Shape;158;p7">
              <a:extLst>
                <a:ext uri="{FF2B5EF4-FFF2-40B4-BE49-F238E27FC236}">
                  <a16:creationId xmlns:a16="http://schemas.microsoft.com/office/drawing/2014/main" id="{8C895C75-0F6B-4D40-BBF8-7CF77BA19682}"/>
                </a:ext>
              </a:extLst>
            </p:cNvPr>
            <p:cNvSpPr txBox="1"/>
            <p:nvPr/>
          </p:nvSpPr>
          <p:spPr>
            <a:xfrm>
              <a:off x="7188237" y="2944114"/>
              <a:ext cx="3038678" cy="425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6250" tIns="0" rIns="15625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lt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Standard &amp; Poor’s</a:t>
              </a:r>
              <a:endParaRPr sz="1800" dirty="0">
                <a:solidFill>
                  <a:schemeClr val="lt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22" name="Google Shape;159;p7">
              <a:extLst>
                <a:ext uri="{FF2B5EF4-FFF2-40B4-BE49-F238E27FC236}">
                  <a16:creationId xmlns:a16="http://schemas.microsoft.com/office/drawing/2014/main" id="{A9A50FCD-1B57-4E20-AFE2-261C8C65A775}"/>
                </a:ext>
              </a:extLst>
            </p:cNvPr>
            <p:cNvSpPr/>
            <p:nvPr/>
          </p:nvSpPr>
          <p:spPr>
            <a:xfrm>
              <a:off x="6946636" y="4157871"/>
              <a:ext cx="4402350" cy="679109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9525" cap="flat" cmpd="sng">
              <a:solidFill>
                <a:schemeClr val="accent1">
                  <a:alpha val="69803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Google Shape;160;p7">
              <a:extLst>
                <a:ext uri="{FF2B5EF4-FFF2-40B4-BE49-F238E27FC236}">
                  <a16:creationId xmlns:a16="http://schemas.microsoft.com/office/drawing/2014/main" id="{EB1BA5F7-2170-4F4C-BF45-A1DFB827605F}"/>
                </a:ext>
              </a:extLst>
            </p:cNvPr>
            <p:cNvSpPr txBox="1"/>
            <p:nvPr/>
          </p:nvSpPr>
          <p:spPr>
            <a:xfrm>
              <a:off x="6946636" y="4157871"/>
              <a:ext cx="4402350" cy="67910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458350" tIns="416550" rIns="458350" bIns="142225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Ba1, Outlook </a:t>
              </a:r>
              <a:r>
                <a:rPr lang="en-US" sz="1800" dirty="0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Stable</a:t>
              </a:r>
              <a:endParaRPr sz="1800" b="0" i="0" u="none" strike="noStrike" cap="none" dirty="0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24" name="Google Shape;161;p7">
              <a:extLst>
                <a:ext uri="{FF2B5EF4-FFF2-40B4-BE49-F238E27FC236}">
                  <a16:creationId xmlns:a16="http://schemas.microsoft.com/office/drawing/2014/main" id="{6C4E48CA-0332-4C24-972A-3680FD5812D8}"/>
                </a:ext>
              </a:extLst>
            </p:cNvPr>
            <p:cNvSpPr/>
            <p:nvPr/>
          </p:nvSpPr>
          <p:spPr>
            <a:xfrm>
              <a:off x="7166754" y="3922159"/>
              <a:ext cx="3081645" cy="471424"/>
            </a:xfrm>
            <a:prstGeom prst="roundRect">
              <a:avLst>
                <a:gd name="adj" fmla="val 16667"/>
              </a:avLst>
            </a:prstGeom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Google Shape;162;p7">
              <a:extLst>
                <a:ext uri="{FF2B5EF4-FFF2-40B4-BE49-F238E27FC236}">
                  <a16:creationId xmlns:a16="http://schemas.microsoft.com/office/drawing/2014/main" id="{D44ADE58-A079-4127-9778-52816EBAB2A0}"/>
                </a:ext>
              </a:extLst>
            </p:cNvPr>
            <p:cNvSpPr txBox="1"/>
            <p:nvPr/>
          </p:nvSpPr>
          <p:spPr>
            <a:xfrm>
              <a:off x="7188237" y="3945172"/>
              <a:ext cx="3038678" cy="425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6250" tIns="0" rIns="15625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lt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Moody’s</a:t>
              </a:r>
              <a:endParaRPr sz="1800" dirty="0">
                <a:solidFill>
                  <a:schemeClr val="lt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26" name="Google Shape;163;p7">
              <a:extLst>
                <a:ext uri="{FF2B5EF4-FFF2-40B4-BE49-F238E27FC236}">
                  <a16:creationId xmlns:a16="http://schemas.microsoft.com/office/drawing/2014/main" id="{74A447C3-07FA-42AC-B3D2-BFDB4CEEA8FB}"/>
                </a:ext>
              </a:extLst>
            </p:cNvPr>
            <p:cNvSpPr/>
            <p:nvPr/>
          </p:nvSpPr>
          <p:spPr>
            <a:xfrm>
              <a:off x="6946636" y="5158928"/>
              <a:ext cx="4402350" cy="679109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9525" cap="flat" cmpd="sng">
              <a:solidFill>
                <a:schemeClr val="accent1">
                  <a:alpha val="49803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Google Shape;164;p7">
              <a:extLst>
                <a:ext uri="{FF2B5EF4-FFF2-40B4-BE49-F238E27FC236}">
                  <a16:creationId xmlns:a16="http://schemas.microsoft.com/office/drawing/2014/main" id="{AF16090A-8F31-4B35-99C4-3C8B64347F85}"/>
                </a:ext>
              </a:extLst>
            </p:cNvPr>
            <p:cNvSpPr txBox="1"/>
            <p:nvPr/>
          </p:nvSpPr>
          <p:spPr>
            <a:xfrm>
              <a:off x="6946636" y="5158928"/>
              <a:ext cx="4402350" cy="679109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458350" tIns="416550" rIns="458350" bIns="142225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1800" b="0" i="0" u="none" strike="noStrike" cap="none" dirty="0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BB+, </a:t>
              </a:r>
              <a:r>
                <a:rPr lang="en-US" sz="1800" b="0" i="0" u="none" strike="noStrike" cap="none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Outlook </a:t>
              </a:r>
              <a:r>
                <a:rPr lang="en-US" sz="1800">
                  <a:solidFill>
                    <a:schemeClr val="dk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Positive</a:t>
              </a:r>
              <a:endParaRPr sz="1800" b="0" i="0" u="none" strike="noStrike" cap="none" dirty="0">
                <a:solidFill>
                  <a:schemeClr val="dk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  <p:sp>
          <p:nvSpPr>
            <p:cNvPr id="28" name="Google Shape;165;p7">
              <a:extLst>
                <a:ext uri="{FF2B5EF4-FFF2-40B4-BE49-F238E27FC236}">
                  <a16:creationId xmlns:a16="http://schemas.microsoft.com/office/drawing/2014/main" id="{44DC4304-4C0A-4390-ACE5-8D1D1DEC9DA2}"/>
                </a:ext>
              </a:extLst>
            </p:cNvPr>
            <p:cNvSpPr/>
            <p:nvPr/>
          </p:nvSpPr>
          <p:spPr>
            <a:xfrm>
              <a:off x="7166754" y="4923216"/>
              <a:ext cx="3081645" cy="471424"/>
            </a:xfrm>
            <a:prstGeom prst="roundRect">
              <a:avLst>
                <a:gd name="adj" fmla="val 16667"/>
              </a:avLst>
            </a:prstGeom>
            <a:solidFill>
              <a:srgbClr val="0070C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4901"/>
                </a:srgbClr>
              </a:outerShdw>
            </a:effectLst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Google Shape;166;p7">
              <a:extLst>
                <a:ext uri="{FF2B5EF4-FFF2-40B4-BE49-F238E27FC236}">
                  <a16:creationId xmlns:a16="http://schemas.microsoft.com/office/drawing/2014/main" id="{DF65D6D1-839E-4FE5-A923-89DA758B6084}"/>
                </a:ext>
              </a:extLst>
            </p:cNvPr>
            <p:cNvSpPr txBox="1"/>
            <p:nvPr/>
          </p:nvSpPr>
          <p:spPr>
            <a:xfrm>
              <a:off x="7188237" y="4946229"/>
              <a:ext cx="3038678" cy="425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56250" tIns="0" rIns="15625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chemeClr val="lt1"/>
                  </a:solidFill>
                  <a:latin typeface="Segoe UI" panose="020B0502040204020203" pitchFamily="34" charset="0"/>
                  <a:ea typeface="Calibri"/>
                  <a:cs typeface="Segoe UI" panose="020B0502040204020203" pitchFamily="34" charset="0"/>
                  <a:sym typeface="Calibri"/>
                </a:rPr>
                <a:t>Fitch</a:t>
              </a:r>
              <a:endParaRPr sz="1800" dirty="0">
                <a:solidFill>
                  <a:schemeClr val="lt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82CD76B9-0D65-479D-BB03-C9433EA5EDB2}"/>
              </a:ext>
            </a:extLst>
          </p:cNvPr>
          <p:cNvSpPr txBox="1"/>
          <p:nvPr/>
        </p:nvSpPr>
        <p:spPr>
          <a:xfrm>
            <a:off x="6584979" y="1580296"/>
            <a:ext cx="4993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VEREIGN RATINGS BY MAJOR RATING AGENCIES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9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  <p:sp>
        <p:nvSpPr>
          <p:cNvPr id="218" name="Google Shape;218;p9"/>
          <p:cNvSpPr txBox="1">
            <a:spLocks noGrp="1"/>
          </p:cNvSpPr>
          <p:nvPr>
            <p:ph type="title"/>
          </p:nvPr>
        </p:nvSpPr>
        <p:spPr>
          <a:xfrm>
            <a:off x="321002" y="302480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  <a:sym typeface="Arial"/>
              </a:rPr>
              <a:t>BUSINESS ORIENTED</a:t>
            </a:r>
            <a:endParaRPr sz="2000" b="1" dirty="0">
              <a:latin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20" name="Google Shape;220;p9"/>
          <p:cNvSpPr/>
          <p:nvPr/>
        </p:nvSpPr>
        <p:spPr>
          <a:xfrm>
            <a:off x="7515640" y="1225398"/>
            <a:ext cx="2693194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EDUCED RED TAPE</a:t>
            </a:r>
            <a:endParaRPr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4" name="Google Shape;224;p9"/>
          <p:cNvSpPr/>
          <p:nvPr/>
        </p:nvSpPr>
        <p:spPr>
          <a:xfrm>
            <a:off x="6661196" y="1822197"/>
            <a:ext cx="4809745" cy="2973081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Segoe UI" panose="020B0502040204020203" pitchFamily="34" charset="0"/>
              <a:buChar char="-"/>
            </a:pPr>
            <a:endParaRPr lang="en-US" sz="1800" b="1" cap="none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O STATE INSPECTIONS OF BUSINESSES</a:t>
            </a: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TREAMLINED LICENSING SYSTEM</a:t>
            </a: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E-GOV SERVICES FOR BUSINESS</a:t>
            </a: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STREAMLINED PUBLIC SERVICES</a:t>
            </a: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ONE-STOP-SHOP SYSTEMS</a:t>
            </a: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cap="none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LOW TAX BURDEN</a:t>
            </a:r>
          </a:p>
        </p:txBody>
      </p:sp>
      <p:sp>
        <p:nvSpPr>
          <p:cNvPr id="230" name="Google Shape;230;p9"/>
          <p:cNvSpPr/>
          <p:nvPr/>
        </p:nvSpPr>
        <p:spPr>
          <a:xfrm>
            <a:off x="1016822" y="1217144"/>
            <a:ext cx="3719595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ONGOING REFORM</a:t>
            </a:r>
            <a:r>
              <a:rPr lang="az-Latn-AZ" sz="20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 AREAS</a:t>
            </a:r>
            <a:endParaRPr sz="20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Google Shape;224;p9">
            <a:extLst>
              <a:ext uri="{FF2B5EF4-FFF2-40B4-BE49-F238E27FC236}">
                <a16:creationId xmlns:a16="http://schemas.microsoft.com/office/drawing/2014/main" id="{FA691CD7-3B92-42AF-8412-39F9D8707247}"/>
              </a:ext>
            </a:extLst>
          </p:cNvPr>
          <p:cNvSpPr/>
          <p:nvPr/>
        </p:nvSpPr>
        <p:spPr>
          <a:xfrm>
            <a:off x="321002" y="1820232"/>
            <a:ext cx="5111233" cy="4081077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1100"/>
              <a:buFont typeface="Calibri" panose="020F0502020204030204" pitchFamily="34" charset="0"/>
              <a:buChar char="-"/>
            </a:pPr>
            <a:endParaRPr lang="en-US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STARTING A BUSINESS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ETTING CREDIT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ALING WITH CONSTRUCTION PERMITS 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ERING PROPERTY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TECTING MINORITY INVESTORS 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YING TAXES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DING ACROSS BORDERS 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NFORCING CONTRACTS</a:t>
            </a: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endParaRPr lang="az-Latn-AZ" sz="18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marR="0" lvl="0" indent="-3429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anose="05000000000000000000" pitchFamily="2" charset="2"/>
              <a:buChar char="§"/>
            </a:pPr>
            <a:r>
              <a:rPr lang="en-US" sz="18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SOLVING INSOLVENC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B5793B3-57DE-4737-8C6C-D030B799D99B}"/>
              </a:ext>
            </a:extLst>
          </p:cNvPr>
          <p:cNvCxnSpPr>
            <a:cxnSpLocks/>
          </p:cNvCxnSpPr>
          <p:nvPr/>
        </p:nvCxnSpPr>
        <p:spPr>
          <a:xfrm>
            <a:off x="6084784" y="1217144"/>
            <a:ext cx="0" cy="4687697"/>
          </a:xfrm>
          <a:prstGeom prst="line">
            <a:avLst/>
          </a:prstGeom>
          <a:ln w="12700">
            <a:solidFill>
              <a:srgbClr val="887735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7">
            <a:extLst>
              <a:ext uri="{FF2B5EF4-FFF2-40B4-BE49-F238E27FC236}">
                <a16:creationId xmlns:a16="http://schemas.microsoft.com/office/drawing/2014/main" id="{5AD719D9-8236-42E1-8713-065CBC0C6257}"/>
              </a:ext>
            </a:extLst>
          </p:cNvPr>
          <p:cNvSpPr/>
          <p:nvPr/>
        </p:nvSpPr>
        <p:spPr>
          <a:xfrm>
            <a:off x="4415715" y="5561544"/>
            <a:ext cx="686593" cy="68659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rgbClr val="887735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3EF7E74-B238-4951-80A5-EDFF7B4A8CA8}"/>
              </a:ext>
            </a:extLst>
          </p:cNvPr>
          <p:cNvSpPr/>
          <p:nvPr/>
        </p:nvSpPr>
        <p:spPr>
          <a:xfrm>
            <a:off x="6609902" y="5102945"/>
            <a:ext cx="1588332" cy="1588332"/>
          </a:xfrm>
          <a:prstGeom prst="ellipse">
            <a:avLst/>
          </a:prstGeom>
          <a:noFill/>
          <a:ln w="19050">
            <a:solidFill>
              <a:srgbClr val="88773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C5967FBE-243F-4FC0-8A4F-50C853CA7862}"/>
              </a:ext>
            </a:extLst>
          </p:cNvPr>
          <p:cNvSpPr/>
          <p:nvPr/>
        </p:nvSpPr>
        <p:spPr>
          <a:xfrm>
            <a:off x="3964846" y="5110675"/>
            <a:ext cx="1588332" cy="1588332"/>
          </a:xfrm>
          <a:prstGeom prst="ellipse">
            <a:avLst/>
          </a:prstGeom>
          <a:noFill/>
          <a:ln w="19050">
            <a:solidFill>
              <a:srgbClr val="887735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7E83572-FBDE-4467-A0B2-65BD2D14A5F2}"/>
              </a:ext>
            </a:extLst>
          </p:cNvPr>
          <p:cNvCxnSpPr/>
          <p:nvPr/>
        </p:nvCxnSpPr>
        <p:spPr>
          <a:xfrm>
            <a:off x="5561427" y="5904841"/>
            <a:ext cx="1048475" cy="0"/>
          </a:xfrm>
          <a:prstGeom prst="line">
            <a:avLst/>
          </a:prstGeom>
          <a:ln w="19050">
            <a:solidFill>
              <a:srgbClr val="88773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Graphic 25" descr="Briefcase with solid fill">
            <a:extLst>
              <a:ext uri="{FF2B5EF4-FFF2-40B4-BE49-F238E27FC236}">
                <a16:creationId xmlns:a16="http://schemas.microsoft.com/office/drawing/2014/main" id="{67B9F74C-FE29-41FB-AD52-27ECEF1BFE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51858" y="5439911"/>
            <a:ext cx="914400" cy="9144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27" name="Google Shape;95;p4">
            <a:extLst>
              <a:ext uri="{FF2B5EF4-FFF2-40B4-BE49-F238E27FC236}">
                <a16:creationId xmlns:a16="http://schemas.microsoft.com/office/drawing/2014/main" id="{5F13986A-3D7F-41BB-9E2B-87256733E6F7}"/>
              </a:ext>
            </a:extLst>
          </p:cNvPr>
          <p:cNvCxnSpPr>
            <a:cxnSpLocks/>
          </p:cNvCxnSpPr>
          <p:nvPr/>
        </p:nvCxnSpPr>
        <p:spPr>
          <a:xfrm flipV="1">
            <a:off x="1016822" y="1617213"/>
            <a:ext cx="3398893" cy="1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9" name="Google Shape;95;p4">
            <a:extLst>
              <a:ext uri="{FF2B5EF4-FFF2-40B4-BE49-F238E27FC236}">
                <a16:creationId xmlns:a16="http://schemas.microsoft.com/office/drawing/2014/main" id="{6B481904-63DB-403E-A48E-10CEA3583DE7}"/>
              </a:ext>
            </a:extLst>
          </p:cNvPr>
          <p:cNvCxnSpPr>
            <a:cxnSpLocks/>
          </p:cNvCxnSpPr>
          <p:nvPr/>
        </p:nvCxnSpPr>
        <p:spPr>
          <a:xfrm flipV="1">
            <a:off x="7435963" y="1617213"/>
            <a:ext cx="2697853" cy="1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" name="Google Shape;250;p10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sp>
        <p:nvSpPr>
          <p:cNvPr id="251" name="Google Shape;251;p10"/>
          <p:cNvSpPr txBox="1">
            <a:spLocks noGrp="1"/>
          </p:cNvSpPr>
          <p:nvPr>
            <p:ph type="title"/>
          </p:nvPr>
        </p:nvSpPr>
        <p:spPr>
          <a:xfrm>
            <a:off x="305995" y="304506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EXPORT PROMOTION</a:t>
            </a:r>
            <a:endParaRPr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7" name="Google Shape;257;p10"/>
          <p:cNvSpPr/>
          <p:nvPr/>
        </p:nvSpPr>
        <p:spPr>
          <a:xfrm>
            <a:off x="2787645" y="1213378"/>
            <a:ext cx="6096000" cy="954067"/>
          </a:xfrm>
          <a:prstGeom prst="rect">
            <a:avLst/>
          </a:prstGeom>
          <a:noFill/>
          <a:ln w="19050">
            <a:noFill/>
            <a:prstDash val="sysDash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NO EXPORT DUTIES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REMOVING TRADE BARRIERS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9" name="Google Shape;259;p10"/>
          <p:cNvSpPr/>
          <p:nvPr/>
        </p:nvSpPr>
        <p:spPr>
          <a:xfrm>
            <a:off x="1228593" y="2836799"/>
            <a:ext cx="3118104" cy="2985392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ysDash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RADE HOUSES</a:t>
            </a:r>
          </a:p>
          <a:p>
            <a:pPr marR="0" lvl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</a:pPr>
            <a:endParaRPr lang="en-US" sz="16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CHINA </a:t>
            </a: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KRAINE  </a:t>
            </a: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POLAND </a:t>
            </a:r>
            <a:endParaRPr lang="en-US" sz="16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UAE </a:t>
            </a: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KAZAKHISTAN</a:t>
            </a:r>
            <a:endParaRPr lang="az-Latn-AZ" sz="16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marR="0" lvl="0" indent="-28575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BELARUS</a:t>
            </a:r>
          </a:p>
        </p:txBody>
      </p:sp>
      <p:sp>
        <p:nvSpPr>
          <p:cNvPr id="261" name="Google Shape;261;p10"/>
          <p:cNvSpPr/>
          <p:nvPr/>
        </p:nvSpPr>
        <p:spPr>
          <a:xfrm>
            <a:off x="7210558" y="2836799"/>
            <a:ext cx="3319155" cy="2970003"/>
          </a:xfrm>
          <a:prstGeom prst="rect">
            <a:avLst/>
          </a:prstGeom>
          <a:noFill/>
          <a:ln w="19050">
            <a:solidFill>
              <a:schemeClr val="tx2">
                <a:lumMod val="50000"/>
              </a:schemeClr>
            </a:solidFill>
            <a:prstDash val="sysDash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buClr>
                <a:srgbClr val="4E81BD"/>
              </a:buClr>
              <a:buSzPts val="2000"/>
            </a:pPr>
            <a:r>
              <a:rPr lang="en-US" sz="2000" b="1" dirty="0">
                <a:solidFill>
                  <a:schemeClr val="tx1"/>
                </a:solidFill>
                <a:latin typeface="Segoe UI" panose="020B0502040204020203" pitchFamily="34" charset="0"/>
                <a:ea typeface="Calibri"/>
                <a:cs typeface="Segoe UI" panose="020B0502040204020203" pitchFamily="34" charset="0"/>
                <a:sym typeface="Calibri"/>
              </a:rPr>
              <a:t>TRADE REPRESENTATIVES</a:t>
            </a:r>
            <a:endParaRPr lang="en-US" sz="20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4E81BD"/>
              </a:buClr>
              <a:buSzPts val="2000"/>
            </a:pPr>
            <a:endParaRPr lang="en-US" sz="2000" b="1" dirty="0">
              <a:solidFill>
                <a:schemeClr val="tx1"/>
              </a:solidFill>
              <a:latin typeface="Segoe UI" panose="020B0502040204020203" pitchFamily="34" charset="0"/>
              <a:ea typeface="Calibri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CHINA </a:t>
            </a:r>
            <a:endParaRPr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UNITED ARAB EMIRATES</a:t>
            </a:r>
            <a:endParaRPr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az-Latn-AZ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POLAND</a:t>
            </a:r>
            <a:endParaRPr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RUSSIA</a:t>
            </a: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en-US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ISRAEL</a:t>
            </a:r>
          </a:p>
          <a:p>
            <a:pPr marL="285750" indent="-285750">
              <a:lnSpc>
                <a:spcPct val="150000"/>
              </a:lnSpc>
              <a:buClrTx/>
              <a:buSzPts val="2000"/>
              <a:buFont typeface="Noto Sans Symbols"/>
              <a:buChar char="▪"/>
            </a:pPr>
            <a:r>
              <a:rPr lang="az-Latn-AZ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ÜRKİYE</a:t>
            </a:r>
            <a:endParaRPr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  <a:sym typeface="Calibri"/>
            </a:endParaRPr>
          </a:p>
        </p:txBody>
      </p:sp>
      <p:pic>
        <p:nvPicPr>
          <p:cNvPr id="3" name="Graphic 2" descr="Bank outline">
            <a:extLst>
              <a:ext uri="{FF2B5EF4-FFF2-40B4-BE49-F238E27FC236}">
                <a16:creationId xmlns:a16="http://schemas.microsoft.com/office/drawing/2014/main" id="{15464158-FD70-48DE-A4D6-998A3EAE9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1443" y="3260698"/>
            <a:ext cx="1713712" cy="171371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11" name="Google Shape;95;p4">
            <a:extLst>
              <a:ext uri="{FF2B5EF4-FFF2-40B4-BE49-F238E27FC236}">
                <a16:creationId xmlns:a16="http://schemas.microsoft.com/office/drawing/2014/main" id="{2754444C-D563-4E34-BD93-B17B36F68269}"/>
              </a:ext>
            </a:extLst>
          </p:cNvPr>
          <p:cNvCxnSpPr>
            <a:cxnSpLocks/>
          </p:cNvCxnSpPr>
          <p:nvPr/>
        </p:nvCxnSpPr>
        <p:spPr>
          <a:xfrm flipV="1">
            <a:off x="3134742" y="2167445"/>
            <a:ext cx="5283394" cy="1"/>
          </a:xfrm>
          <a:prstGeom prst="straightConnector1">
            <a:avLst/>
          </a:prstGeom>
          <a:noFill/>
          <a:ln w="25400" cap="flat" cmpd="sng">
            <a:solidFill>
              <a:srgbClr val="887735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11"/>
          <p:cNvSpPr txBox="1">
            <a:spLocks noGrp="1"/>
          </p:cNvSpPr>
          <p:nvPr>
            <p:ph type="sldNum" idx="12"/>
          </p:nvPr>
        </p:nvSpPr>
        <p:spPr>
          <a:xfrm>
            <a:off x="11085416" y="6342629"/>
            <a:ext cx="668867" cy="409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  <p:sp>
        <p:nvSpPr>
          <p:cNvPr id="269" name="Google Shape;269;p11"/>
          <p:cNvSpPr txBox="1">
            <a:spLocks noGrp="1"/>
          </p:cNvSpPr>
          <p:nvPr>
            <p:ph type="title"/>
          </p:nvPr>
        </p:nvSpPr>
        <p:spPr>
          <a:xfrm>
            <a:off x="278563" y="294704"/>
            <a:ext cx="9084378" cy="633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INVESTMENT CLIMATE</a:t>
            </a:r>
            <a:endParaRPr sz="20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71" name="Google Shape;271;p11" descr="C:\Users\rmammadov\Desktop\dT6MexaT9.gif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440542" y="2732036"/>
            <a:ext cx="2779820" cy="2279447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281" name="Google Shape;281;p11"/>
          <p:cNvCxnSpPr>
            <a:cxnSpLocks/>
          </p:cNvCxnSpPr>
          <p:nvPr/>
        </p:nvCxnSpPr>
        <p:spPr>
          <a:xfrm flipV="1">
            <a:off x="5830452" y="2087336"/>
            <a:ext cx="0" cy="926471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2" name="Google Shape;282;p11"/>
          <p:cNvCxnSpPr>
            <a:cxnSpLocks/>
          </p:cNvCxnSpPr>
          <p:nvPr/>
        </p:nvCxnSpPr>
        <p:spPr>
          <a:xfrm flipV="1">
            <a:off x="7032812" y="2592059"/>
            <a:ext cx="1048870" cy="554553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3" name="Google Shape;283;p11"/>
          <p:cNvCxnSpPr>
            <a:cxnSpLocks/>
          </p:cNvCxnSpPr>
          <p:nvPr/>
        </p:nvCxnSpPr>
        <p:spPr>
          <a:xfrm>
            <a:off x="7395536" y="3824383"/>
            <a:ext cx="1076111" cy="0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4" name="Google Shape;284;p11"/>
          <p:cNvCxnSpPr>
            <a:cxnSpLocks/>
          </p:cNvCxnSpPr>
          <p:nvPr/>
        </p:nvCxnSpPr>
        <p:spPr>
          <a:xfrm>
            <a:off x="7032812" y="4264800"/>
            <a:ext cx="725448" cy="746683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5" name="Google Shape;285;p11"/>
          <p:cNvCxnSpPr>
            <a:cxnSpLocks/>
          </p:cNvCxnSpPr>
          <p:nvPr/>
        </p:nvCxnSpPr>
        <p:spPr>
          <a:xfrm>
            <a:off x="5857346" y="4947144"/>
            <a:ext cx="0" cy="869194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6" name="Google Shape;286;p11"/>
          <p:cNvCxnSpPr>
            <a:cxnSpLocks/>
          </p:cNvCxnSpPr>
          <p:nvPr/>
        </p:nvCxnSpPr>
        <p:spPr>
          <a:xfrm flipH="1" flipV="1">
            <a:off x="3804608" y="2271705"/>
            <a:ext cx="811496" cy="609442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7" name="Google Shape;287;p11"/>
          <p:cNvCxnSpPr>
            <a:cxnSpLocks/>
          </p:cNvCxnSpPr>
          <p:nvPr/>
        </p:nvCxnSpPr>
        <p:spPr>
          <a:xfrm flipH="1" flipV="1">
            <a:off x="3355942" y="3395601"/>
            <a:ext cx="994759" cy="1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8" name="Google Shape;288;p11"/>
          <p:cNvCxnSpPr>
            <a:cxnSpLocks/>
          </p:cNvCxnSpPr>
          <p:nvPr/>
        </p:nvCxnSpPr>
        <p:spPr>
          <a:xfrm flipH="1">
            <a:off x="3355942" y="4384739"/>
            <a:ext cx="994761" cy="83566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cxnSp>
        <p:nvCxnSpPr>
          <p:cNvPr id="289" name="Google Shape;289;p11"/>
          <p:cNvCxnSpPr>
            <a:cxnSpLocks/>
          </p:cNvCxnSpPr>
          <p:nvPr/>
        </p:nvCxnSpPr>
        <p:spPr>
          <a:xfrm flipH="1">
            <a:off x="3714161" y="4790372"/>
            <a:ext cx="1038718" cy="846857"/>
          </a:xfrm>
          <a:prstGeom prst="straightConnector1">
            <a:avLst/>
          </a:prstGeom>
          <a:noFill/>
          <a:ln w="25400" cap="flat" cmpd="sng">
            <a:solidFill>
              <a:srgbClr val="706840"/>
            </a:solidFill>
            <a:prstDash val="solid"/>
            <a:round/>
            <a:headEnd type="none" w="sm" len="sm"/>
            <a:tailEnd type="triangle" w="med" len="med"/>
          </a:ln>
          <a:effectLst/>
        </p:spPr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4684823-E378-44FF-A831-4A0D2BFD7F01}"/>
              </a:ext>
            </a:extLst>
          </p:cNvPr>
          <p:cNvSpPr txBox="1"/>
          <p:nvPr/>
        </p:nvSpPr>
        <p:spPr>
          <a:xfrm>
            <a:off x="832782" y="1858661"/>
            <a:ext cx="2761774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 anchor="ctr">
            <a:spAutoFit/>
          </a:bodyPr>
          <a:lstStyle/>
          <a:p>
            <a:pPr algn="ctr"/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TEMPORARY RESIDENCE ALLOWED UPON INVESTMEN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A600CF7-EC78-418B-8708-4516F4210649}"/>
              </a:ext>
            </a:extLst>
          </p:cNvPr>
          <p:cNvSpPr txBox="1"/>
          <p:nvPr/>
        </p:nvSpPr>
        <p:spPr>
          <a:xfrm>
            <a:off x="4331768" y="1613848"/>
            <a:ext cx="3230835" cy="264688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lvl="0" indent="0" algn="ctr">
              <a:lnSpc>
                <a:spcPct val="80000"/>
              </a:lnSpc>
              <a:buFont typeface="Arial"/>
              <a:buNone/>
            </a:pPr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LIMITED PRICE CONTROL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7A1E422-38D7-44E8-AB97-81D3AC1A25BD}"/>
              </a:ext>
            </a:extLst>
          </p:cNvPr>
          <p:cNvSpPr txBox="1"/>
          <p:nvPr/>
        </p:nvSpPr>
        <p:spPr>
          <a:xfrm>
            <a:off x="8321833" y="2220154"/>
            <a:ext cx="2884146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LIMITS ON THE AMOUNT OF FOREIGN CAPITAL IN COMPANIES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FB81185-9C2C-48CC-A069-3B34F53E1095}"/>
              </a:ext>
            </a:extLst>
          </p:cNvPr>
          <p:cNvSpPr txBox="1"/>
          <p:nvPr/>
        </p:nvSpPr>
        <p:spPr>
          <a:xfrm>
            <a:off x="8653999" y="3631361"/>
            <a:ext cx="2263938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RESTRICTIONS ON REPATRIATION OF PROFITS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E0BE40C-75E2-4B48-90B6-CF701852BFCF}"/>
              </a:ext>
            </a:extLst>
          </p:cNvPr>
          <p:cNvSpPr txBox="1"/>
          <p:nvPr/>
        </p:nvSpPr>
        <p:spPr>
          <a:xfrm>
            <a:off x="7928040" y="4891009"/>
            <a:ext cx="2706431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PRIOR AUTHORIZATION OF FOREIGN INVESTMENT REQUIRED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EBD45D2-73D4-4191-8062-BF03A90889AE}"/>
              </a:ext>
            </a:extLst>
          </p:cNvPr>
          <p:cNvSpPr txBox="1"/>
          <p:nvPr/>
        </p:nvSpPr>
        <p:spPr>
          <a:xfrm>
            <a:off x="4505715" y="5958408"/>
            <a:ext cx="2649474" cy="523220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TECHNOLOGY TRANSFER RESTRICTIONS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BE5EBCC-228C-49CD-8934-06F72A2257B5}"/>
              </a:ext>
            </a:extLst>
          </p:cNvPr>
          <p:cNvSpPr txBox="1"/>
          <p:nvPr/>
        </p:nvSpPr>
        <p:spPr>
          <a:xfrm>
            <a:off x="456914" y="5430337"/>
            <a:ext cx="3002541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DISCRIMINATION BETWEEN FOREIGN AND DOMESTIC INVESTOR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8B2D243-EEDE-4671-AC3D-24F518A9C29A}"/>
              </a:ext>
            </a:extLst>
          </p:cNvPr>
          <p:cNvSpPr txBox="1"/>
          <p:nvPr/>
        </p:nvSpPr>
        <p:spPr>
          <a:xfrm>
            <a:off x="421071" y="4219397"/>
            <a:ext cx="2674530" cy="523220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 anchor="ctr">
            <a:spAutoFit/>
          </a:bodyPr>
          <a:lstStyle/>
          <a:p>
            <a:pPr algn="ctr"/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FOREIGN EXCHANGE RESTRICTIONS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18E1C93-21E7-4214-9D8F-AADCA0144D18}"/>
              </a:ext>
            </a:extLst>
          </p:cNvPr>
          <p:cNvSpPr txBox="1"/>
          <p:nvPr/>
        </p:nvSpPr>
        <p:spPr>
          <a:xfrm>
            <a:off x="832782" y="3027115"/>
            <a:ext cx="2320290" cy="738664"/>
          </a:xfrm>
          <a:prstGeom prst="rect">
            <a:avLst/>
          </a:prstGeom>
          <a:noFill/>
          <a:ln>
            <a:solidFill>
              <a:schemeClr val="tx2">
                <a:lumMod val="50000"/>
              </a:schemeClr>
            </a:solidFill>
            <a:prstDash val="dashDot"/>
          </a:ln>
        </p:spPr>
        <p:txBody>
          <a:bodyPr wrap="square" anchor="ctr">
            <a:spAutoFit/>
          </a:bodyPr>
          <a:lstStyle/>
          <a:p>
            <a:pPr marL="0" lvl="0" indent="0" algn="ctr">
              <a:buFont typeface="Arial"/>
              <a:buNone/>
            </a:pPr>
            <a:r>
              <a:rPr lang="en-US" b="1" dirty="0">
                <a:solidFill>
                  <a:srgbClr val="232323"/>
                </a:solidFill>
                <a:latin typeface="Segoe UI" panose="020B0502040204020203" pitchFamily="34" charset="0"/>
                <a:cs typeface="Segoe UI" panose="020B0502040204020203" pitchFamily="34" charset="0"/>
                <a:sym typeface="Calibri"/>
              </a:rPr>
              <a:t>NO LOCAL COUNTERPART REQUIREMENT</a:t>
            </a:r>
            <a:endParaRPr lang="en-US" b="1" dirty="0">
              <a:solidFill>
                <a:srgbClr val="232323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A9BEE21D6C3264FADE2FD38D7A7826C" ma:contentTypeVersion="16" ma:contentTypeDescription="Vytvoří nový dokument" ma:contentTypeScope="" ma:versionID="236bab5b80eee315069eef4797878178">
  <xsd:schema xmlns:xsd="http://www.w3.org/2001/XMLSchema" xmlns:xs="http://www.w3.org/2001/XMLSchema" xmlns:p="http://schemas.microsoft.com/office/2006/metadata/properties" xmlns:ns2="656df841-aa11-4fb1-a091-1fe21010e6fa" xmlns:ns3="0c5bbf73-c4da-4040-b8ab-d55d9fc0155f" targetNamespace="http://schemas.microsoft.com/office/2006/metadata/properties" ma:root="true" ma:fieldsID="0a4285460e48438df5edfe72b9c8df88" ns2:_="" ns3:_="">
    <xsd:import namespace="656df841-aa11-4fb1-a091-1fe21010e6fa"/>
    <xsd:import namespace="0c5bbf73-c4da-4040-b8ab-d55d9fc015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6df841-aa11-4fb1-a091-1fe21010e6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Značky obrázků" ma:readOnly="false" ma:fieldId="{5cf76f15-5ced-4ddc-b409-7134ff3c332f}" ma:taxonomyMulti="true" ma:sspId="fdf064b5-4622-4071-a065-a3cd2961f36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5bbf73-c4da-4040-b8ab-d55d9fc0155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b0844fcd-9267-48f6-9b26-ba3d9166512a}" ma:internalName="TaxCatchAll" ma:showField="CatchAllData" ma:web="0c5bbf73-c4da-4040-b8ab-d55d9fc015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67F4AAF-C70E-43B9-96E2-B6A7A5C55B5D}"/>
</file>

<file path=customXml/itemProps2.xml><?xml version="1.0" encoding="utf-8"?>
<ds:datastoreItem xmlns:ds="http://schemas.openxmlformats.org/officeDocument/2006/customXml" ds:itemID="{369B7FA3-59BD-48B7-815C-AFEB3B752C9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09</TotalTime>
  <Words>937</Words>
  <Application>Microsoft Office PowerPoint</Application>
  <PresentationFormat>Widescreen</PresentationFormat>
  <Paragraphs>395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Segoe UI</vt:lpstr>
      <vt:lpstr>Calibri</vt:lpstr>
      <vt:lpstr>Arial</vt:lpstr>
      <vt:lpstr>Segoe UI Symbol</vt:lpstr>
      <vt:lpstr>Arial</vt:lpstr>
      <vt:lpstr>Averta</vt:lpstr>
      <vt:lpstr>Verdana</vt:lpstr>
      <vt:lpstr>Wingdings</vt:lpstr>
      <vt:lpstr>Noto Sans Symbols</vt:lpstr>
      <vt:lpstr>Quattrocento Sans</vt:lpstr>
      <vt:lpstr>Custom Design</vt:lpstr>
      <vt:lpstr>think-cell Slide</vt:lpstr>
      <vt:lpstr>INVESTMENT OPPORTUNITIES IN AZERBAIJAN  March 2023</vt:lpstr>
      <vt:lpstr> </vt:lpstr>
      <vt:lpstr> </vt:lpstr>
      <vt:lpstr> </vt:lpstr>
      <vt:lpstr> </vt:lpstr>
      <vt:lpstr> </vt:lpstr>
      <vt:lpstr>BUSINESS ORIENTED</vt:lpstr>
      <vt:lpstr>EXPORT PROMOTION</vt:lpstr>
      <vt:lpstr> INVESTMENT CLIMATE</vt:lpstr>
      <vt:lpstr> BILATERAL INVESTMENT TREATIES</vt:lpstr>
      <vt:lpstr> DOUBLE TAXATION TREATIES</vt:lpstr>
      <vt:lpstr> INDUSTRIAL PARKS, DISTRICTS AND AGROPARKS</vt:lpstr>
      <vt:lpstr> </vt:lpstr>
      <vt:lpstr> </vt:lpstr>
      <vt:lpstr>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COVER YOUR WAY TO AZERBAIJAN</dc:title>
  <dc:creator>Ilham Aliyev</dc:creator>
  <cp:lastModifiedBy>Nigar Mustafayeva</cp:lastModifiedBy>
  <cp:revision>182</cp:revision>
  <dcterms:created xsi:type="dcterms:W3CDTF">2012-02-10T07:46:07Z</dcterms:created>
  <dcterms:modified xsi:type="dcterms:W3CDTF">2023-02-28T07:42:59Z</dcterms:modified>
</cp:coreProperties>
</file>